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6" r:id="rId5"/>
    <p:sldMasterId id="2147483722" r:id="rId6"/>
  </p:sldMasterIdLst>
  <p:notesMasterIdLst>
    <p:notesMasterId r:id="rId21"/>
  </p:notesMasterIdLst>
  <p:sldIdLst>
    <p:sldId id="2147478210" r:id="rId7"/>
    <p:sldId id="2147478211" r:id="rId8"/>
    <p:sldId id="8220" r:id="rId9"/>
    <p:sldId id="2147478216" r:id="rId10"/>
    <p:sldId id="2147478213" r:id="rId11"/>
    <p:sldId id="2147478214" r:id="rId12"/>
    <p:sldId id="2147478215" r:id="rId13"/>
    <p:sldId id="2147478262" r:id="rId14"/>
    <p:sldId id="2147478209" r:id="rId15"/>
    <p:sldId id="2147478148" r:id="rId16"/>
    <p:sldId id="2147478253" r:id="rId17"/>
    <p:sldId id="2147478257" r:id="rId18"/>
    <p:sldId id="2147478258" r:id="rId19"/>
    <p:sldId id="2147478259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0E4F2CE-782F-C853-D2EF-3D000D354B8B}" name="Molly Sugarman" initials="MS" userId="S::MSugarman@VELOSIO.COM::dd228ac2-4f67-4016-95ea-ecca8389bef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A16462-2E59-2A23-56CB-84FB4800A240}" v="14" dt="2024-09-25T15:17:00.3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0" autoAdjust="0"/>
    <p:restoredTop sz="95033" autoAdjust="0"/>
  </p:normalViewPr>
  <p:slideViewPr>
    <p:cSldViewPr snapToGrid="0">
      <p:cViewPr varScale="1">
        <p:scale>
          <a:sx n="63" d="100"/>
          <a:sy n="63" d="100"/>
        </p:scale>
        <p:origin x="80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8C6821-6F31-4C28-81A5-326CC4D3AD19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031F4B2-AD0A-4994-9AEA-7C81AB0A4DDF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Plan</a:t>
          </a:r>
        </a:p>
      </dgm:t>
    </dgm:pt>
    <dgm:pt modelId="{83163E7D-9D1D-4936-9E3A-B520464C30CA}" type="parTrans" cxnId="{A819A51A-2A79-4D20-9D89-C457EA681F15}">
      <dgm:prSet/>
      <dgm:spPr/>
      <dgm:t>
        <a:bodyPr/>
        <a:lstStyle/>
        <a:p>
          <a:endParaRPr lang="en-US"/>
        </a:p>
      </dgm:t>
    </dgm:pt>
    <dgm:pt modelId="{65B5FC82-DA0E-49E9-8E3C-1C441E3B9C3B}" type="sibTrans" cxnId="{A819A51A-2A79-4D20-9D89-C457EA681F15}">
      <dgm:prSet/>
      <dgm:spPr/>
      <dgm:t>
        <a:bodyPr/>
        <a:lstStyle/>
        <a:p>
          <a:endParaRPr lang="en-US"/>
        </a:p>
      </dgm:t>
    </dgm:pt>
    <dgm:pt modelId="{B70434FE-EAF2-4A66-B339-BC467E721B66}">
      <dgm:prSet phldrT="[Text]"/>
      <dgm:spPr/>
      <dgm:t>
        <a:bodyPr/>
        <a:lstStyle/>
        <a:p>
          <a:r>
            <a:rPr lang="en-US" dirty="0"/>
            <a:t>Project set up </a:t>
          </a:r>
        </a:p>
      </dgm:t>
    </dgm:pt>
    <dgm:pt modelId="{FD3C5842-D03E-4DC6-AB75-157083242B9E}" type="parTrans" cxnId="{BC91AE58-1EF8-4145-BE69-9388714C73D2}">
      <dgm:prSet/>
      <dgm:spPr/>
      <dgm:t>
        <a:bodyPr/>
        <a:lstStyle/>
        <a:p>
          <a:endParaRPr lang="en-US"/>
        </a:p>
      </dgm:t>
    </dgm:pt>
    <dgm:pt modelId="{3B0FBC4A-A30D-4204-9D25-4DECA4732F77}" type="sibTrans" cxnId="{BC91AE58-1EF8-4145-BE69-9388714C73D2}">
      <dgm:prSet/>
      <dgm:spPr/>
      <dgm:t>
        <a:bodyPr/>
        <a:lstStyle/>
        <a:p>
          <a:endParaRPr lang="en-US"/>
        </a:p>
      </dgm:t>
    </dgm:pt>
    <dgm:pt modelId="{84BC0D3F-66D9-4C3C-9E92-4C2E749D9785}">
      <dgm:prSet phldrT="[Text]"/>
      <dgm:spPr>
        <a:solidFill>
          <a:schemeClr val="accent4"/>
        </a:solidFill>
      </dgm:spPr>
      <dgm:t>
        <a:bodyPr/>
        <a:lstStyle/>
        <a:p>
          <a:r>
            <a:rPr lang="en-US" dirty="0"/>
            <a:t>Analyze &amp; Design</a:t>
          </a:r>
        </a:p>
      </dgm:t>
    </dgm:pt>
    <dgm:pt modelId="{EE95C3EA-0ACC-4516-97F4-2D4B8BA349F6}" type="parTrans" cxnId="{3E271412-EEFE-4B5E-ABE3-600214AC441B}">
      <dgm:prSet/>
      <dgm:spPr/>
      <dgm:t>
        <a:bodyPr/>
        <a:lstStyle/>
        <a:p>
          <a:endParaRPr lang="en-US"/>
        </a:p>
      </dgm:t>
    </dgm:pt>
    <dgm:pt modelId="{5512DAF5-6A5A-4514-B497-AA3C929C7C7B}" type="sibTrans" cxnId="{3E271412-EEFE-4B5E-ABE3-600214AC441B}">
      <dgm:prSet/>
      <dgm:spPr/>
      <dgm:t>
        <a:bodyPr/>
        <a:lstStyle/>
        <a:p>
          <a:endParaRPr lang="en-US"/>
        </a:p>
      </dgm:t>
    </dgm:pt>
    <dgm:pt modelId="{A3181552-D31F-41DF-96CC-F93F24F9AC50}">
      <dgm:prSet phldrT="[Text]"/>
      <dgm:spPr/>
      <dgm:t>
        <a:bodyPr/>
        <a:lstStyle/>
        <a:p>
          <a:r>
            <a:rPr lang="en-US" dirty="0"/>
            <a:t>Velosio to provide design templates based on successful sales deployments</a:t>
          </a:r>
        </a:p>
      </dgm:t>
    </dgm:pt>
    <dgm:pt modelId="{766605AF-1097-4D91-93C1-689901CBA9FD}" type="parTrans" cxnId="{F7C7F1CD-0EFE-4AA0-BCA5-472FF8A24AEC}">
      <dgm:prSet/>
      <dgm:spPr/>
      <dgm:t>
        <a:bodyPr/>
        <a:lstStyle/>
        <a:p>
          <a:endParaRPr lang="en-US"/>
        </a:p>
      </dgm:t>
    </dgm:pt>
    <dgm:pt modelId="{421E2B2E-740B-4BD7-AEAB-5362B579C904}" type="sibTrans" cxnId="{F7C7F1CD-0EFE-4AA0-BCA5-472FF8A24AEC}">
      <dgm:prSet/>
      <dgm:spPr/>
      <dgm:t>
        <a:bodyPr/>
        <a:lstStyle/>
        <a:p>
          <a:endParaRPr lang="en-US"/>
        </a:p>
      </dgm:t>
    </dgm:pt>
    <dgm:pt modelId="{725E5F7E-3F9C-4392-9536-EDE749216822}">
      <dgm:prSet phldrT="[Text]"/>
      <dgm:spPr>
        <a:solidFill>
          <a:schemeClr val="tx1"/>
        </a:solidFill>
      </dgm:spPr>
      <dgm:t>
        <a:bodyPr/>
        <a:lstStyle/>
        <a:p>
          <a:r>
            <a:rPr lang="en-US" dirty="0"/>
            <a:t>Configure</a:t>
          </a:r>
        </a:p>
      </dgm:t>
    </dgm:pt>
    <dgm:pt modelId="{87DCEF03-9C35-4703-A7E1-C201BD3D3ED5}" type="parTrans" cxnId="{E0AD956D-1E0E-4C62-81E7-421508CC4665}">
      <dgm:prSet/>
      <dgm:spPr/>
      <dgm:t>
        <a:bodyPr/>
        <a:lstStyle/>
        <a:p>
          <a:endParaRPr lang="en-US"/>
        </a:p>
      </dgm:t>
    </dgm:pt>
    <dgm:pt modelId="{215E9B5F-1CA3-42B2-B4A5-6C569B31857A}" type="sibTrans" cxnId="{E0AD956D-1E0E-4C62-81E7-421508CC4665}">
      <dgm:prSet/>
      <dgm:spPr/>
      <dgm:t>
        <a:bodyPr/>
        <a:lstStyle/>
        <a:p>
          <a:endParaRPr lang="en-US"/>
        </a:p>
      </dgm:t>
    </dgm:pt>
    <dgm:pt modelId="{A94E658C-DF76-40B3-B780-FD2858D84F05}">
      <dgm:prSet phldrT="[Text]"/>
      <dgm:spPr/>
      <dgm:t>
        <a:bodyPr/>
        <a:lstStyle/>
        <a:p>
          <a:r>
            <a:rPr lang="en-US" dirty="0"/>
            <a:t>Core configuration for Accounts, Contacts, Leads, Opportunities </a:t>
          </a:r>
        </a:p>
      </dgm:t>
    </dgm:pt>
    <dgm:pt modelId="{6DB8521D-2A72-4581-BA32-8663996A713E}" type="parTrans" cxnId="{A25C69BC-0235-4D6D-A775-BB4CA9FC9BC6}">
      <dgm:prSet/>
      <dgm:spPr/>
      <dgm:t>
        <a:bodyPr/>
        <a:lstStyle/>
        <a:p>
          <a:endParaRPr lang="en-US"/>
        </a:p>
      </dgm:t>
    </dgm:pt>
    <dgm:pt modelId="{B1C7D72A-3980-439F-BBBA-6683BC6EFDA4}" type="sibTrans" cxnId="{A25C69BC-0235-4D6D-A775-BB4CA9FC9BC6}">
      <dgm:prSet/>
      <dgm:spPr/>
      <dgm:t>
        <a:bodyPr/>
        <a:lstStyle/>
        <a:p>
          <a:endParaRPr lang="en-US"/>
        </a:p>
      </dgm:t>
    </dgm:pt>
    <dgm:pt modelId="{33DC3568-60E8-4F19-97FA-3AA58A2BE80F}">
      <dgm:prSet phldrT="[Text]"/>
      <dgm:spPr/>
      <dgm:t>
        <a:bodyPr/>
        <a:lstStyle/>
        <a:p>
          <a:r>
            <a:rPr lang="en-US" dirty="0"/>
            <a:t>Deploy</a:t>
          </a:r>
        </a:p>
      </dgm:t>
    </dgm:pt>
    <dgm:pt modelId="{D5CFDFB4-84B6-4835-A571-1E2C92E87D3A}" type="parTrans" cxnId="{9CD8786F-2DEB-4FB8-8DB8-0428B90C6FAB}">
      <dgm:prSet/>
      <dgm:spPr/>
      <dgm:t>
        <a:bodyPr/>
        <a:lstStyle/>
        <a:p>
          <a:endParaRPr lang="en-US"/>
        </a:p>
      </dgm:t>
    </dgm:pt>
    <dgm:pt modelId="{984A2A4E-4E23-4984-BEBA-EE4FE2027D3A}" type="sibTrans" cxnId="{9CD8786F-2DEB-4FB8-8DB8-0428B90C6FAB}">
      <dgm:prSet/>
      <dgm:spPr/>
      <dgm:t>
        <a:bodyPr/>
        <a:lstStyle/>
        <a:p>
          <a:endParaRPr lang="en-US"/>
        </a:p>
      </dgm:t>
    </dgm:pt>
    <dgm:pt modelId="{BBA50D97-4661-40B4-957B-8E9BC194C7BB}">
      <dgm:prSet phldrT="[Text]"/>
      <dgm:spPr>
        <a:solidFill>
          <a:schemeClr val="accent1"/>
        </a:solidFill>
      </dgm:spPr>
      <dgm:t>
        <a:bodyPr/>
        <a:lstStyle/>
        <a:p>
          <a:r>
            <a:rPr lang="en-US" dirty="0"/>
            <a:t>Go-Live Support</a:t>
          </a:r>
        </a:p>
      </dgm:t>
    </dgm:pt>
    <dgm:pt modelId="{86B3C4F1-F252-4642-A1ED-A8D44DF8B38C}" type="parTrans" cxnId="{387F8774-E636-4BA9-95FA-02EAF7E94BE6}">
      <dgm:prSet/>
      <dgm:spPr/>
      <dgm:t>
        <a:bodyPr/>
        <a:lstStyle/>
        <a:p>
          <a:endParaRPr lang="en-US"/>
        </a:p>
      </dgm:t>
    </dgm:pt>
    <dgm:pt modelId="{FE1AB927-65D1-4B03-AD60-F9DC7388E767}" type="sibTrans" cxnId="{387F8774-E636-4BA9-95FA-02EAF7E94BE6}">
      <dgm:prSet/>
      <dgm:spPr/>
      <dgm:t>
        <a:bodyPr/>
        <a:lstStyle/>
        <a:p>
          <a:endParaRPr lang="en-US"/>
        </a:p>
      </dgm:t>
    </dgm:pt>
    <dgm:pt modelId="{E1A804E6-D35D-4914-9146-8831C4171B8E}">
      <dgm:prSet phldrT="[Text]"/>
      <dgm:spPr/>
      <dgm:t>
        <a:bodyPr/>
        <a:lstStyle/>
        <a:p>
          <a:r>
            <a:rPr lang="en-US" dirty="0"/>
            <a:t>Project Kickoff Meeting </a:t>
          </a:r>
        </a:p>
      </dgm:t>
    </dgm:pt>
    <dgm:pt modelId="{0181E88D-28B4-4D3D-9A08-D7877EFF7341}" type="parTrans" cxnId="{B332DAA8-C11B-4CEF-80A3-FE8A1402AD9B}">
      <dgm:prSet/>
      <dgm:spPr/>
      <dgm:t>
        <a:bodyPr/>
        <a:lstStyle/>
        <a:p>
          <a:endParaRPr lang="en-US"/>
        </a:p>
      </dgm:t>
    </dgm:pt>
    <dgm:pt modelId="{56D87959-B60E-460C-B129-DE9BAB125A62}" type="sibTrans" cxnId="{B332DAA8-C11B-4CEF-80A3-FE8A1402AD9B}">
      <dgm:prSet/>
      <dgm:spPr/>
      <dgm:t>
        <a:bodyPr/>
        <a:lstStyle/>
        <a:p>
          <a:endParaRPr lang="en-US"/>
        </a:p>
      </dgm:t>
    </dgm:pt>
    <dgm:pt modelId="{873DDE7F-B392-4605-B07F-025A48AABACC}">
      <dgm:prSet phldrT="[Text]"/>
      <dgm:spPr/>
      <dgm:t>
        <a:bodyPr/>
        <a:lstStyle/>
        <a:p>
          <a:r>
            <a:rPr lang="en-US" dirty="0"/>
            <a:t>Environment set up and license assignment</a:t>
          </a:r>
        </a:p>
      </dgm:t>
    </dgm:pt>
    <dgm:pt modelId="{CB28F4B1-2852-41ED-B04F-3BE16CE79AAC}" type="parTrans" cxnId="{A3605AF5-4B9F-4B41-A5DB-7EEB8966B02C}">
      <dgm:prSet/>
      <dgm:spPr/>
      <dgm:t>
        <a:bodyPr/>
        <a:lstStyle/>
        <a:p>
          <a:endParaRPr lang="en-US"/>
        </a:p>
      </dgm:t>
    </dgm:pt>
    <dgm:pt modelId="{EE2D544F-EC58-40A6-A59A-88370FDD0D99}" type="sibTrans" cxnId="{A3605AF5-4B9F-4B41-A5DB-7EEB8966B02C}">
      <dgm:prSet/>
      <dgm:spPr/>
      <dgm:t>
        <a:bodyPr/>
        <a:lstStyle/>
        <a:p>
          <a:endParaRPr lang="en-US"/>
        </a:p>
      </dgm:t>
    </dgm:pt>
    <dgm:pt modelId="{C0E410B7-2DF7-4657-8447-51CDCA344D83}">
      <dgm:prSet phldrT="[Text]"/>
      <dgm:spPr/>
      <dgm:t>
        <a:bodyPr/>
        <a:lstStyle/>
        <a:p>
          <a:r>
            <a:rPr lang="en-US" dirty="0"/>
            <a:t>Collaborative review of primary screen requirements</a:t>
          </a:r>
        </a:p>
      </dgm:t>
    </dgm:pt>
    <dgm:pt modelId="{AE0767BB-531D-431F-94AB-76A8BB2F59F7}" type="parTrans" cxnId="{827085BB-224D-4255-8F53-03CB613E2E81}">
      <dgm:prSet/>
      <dgm:spPr/>
      <dgm:t>
        <a:bodyPr/>
        <a:lstStyle/>
        <a:p>
          <a:endParaRPr lang="en-US"/>
        </a:p>
      </dgm:t>
    </dgm:pt>
    <dgm:pt modelId="{242DE3BD-5616-4ECC-8EA4-16B0CF6E974D}" type="sibTrans" cxnId="{827085BB-224D-4255-8F53-03CB613E2E81}">
      <dgm:prSet/>
      <dgm:spPr/>
      <dgm:t>
        <a:bodyPr/>
        <a:lstStyle/>
        <a:p>
          <a:endParaRPr lang="en-US"/>
        </a:p>
      </dgm:t>
    </dgm:pt>
    <dgm:pt modelId="{1B7A09CE-F9BC-4C7A-8C33-A102D95953E2}">
      <dgm:prSet phldrT="[Text]"/>
      <dgm:spPr/>
      <dgm:t>
        <a:bodyPr/>
        <a:lstStyle/>
        <a:p>
          <a:r>
            <a:rPr lang="en-US" dirty="0"/>
            <a:t>Conference Room Pilot (CRP) for hands-on review and feedback</a:t>
          </a:r>
        </a:p>
      </dgm:t>
    </dgm:pt>
    <dgm:pt modelId="{39733E95-B2E8-4D4B-8FFC-57879BBC846B}" type="parTrans" cxnId="{807A1876-B061-4709-B510-0A5E8F0497E8}">
      <dgm:prSet/>
      <dgm:spPr/>
      <dgm:t>
        <a:bodyPr/>
        <a:lstStyle/>
        <a:p>
          <a:endParaRPr lang="en-US"/>
        </a:p>
      </dgm:t>
    </dgm:pt>
    <dgm:pt modelId="{ED6C4A1D-6E22-436B-9D16-1EF1AB597D0C}" type="sibTrans" cxnId="{807A1876-B061-4709-B510-0A5E8F0497E8}">
      <dgm:prSet/>
      <dgm:spPr/>
      <dgm:t>
        <a:bodyPr/>
        <a:lstStyle/>
        <a:p>
          <a:endParaRPr lang="en-US"/>
        </a:p>
      </dgm:t>
    </dgm:pt>
    <dgm:pt modelId="{D3593626-D83F-4CF8-AE77-89B857DFA84D}">
      <dgm:prSet phldrT="[Text]"/>
      <dgm:spPr/>
      <dgm:t>
        <a:bodyPr/>
        <a:lstStyle/>
        <a:p>
          <a:r>
            <a:rPr lang="en-US"/>
            <a:t>Data Migration training &amp; support</a:t>
          </a:r>
          <a:endParaRPr lang="en-US" dirty="0"/>
        </a:p>
      </dgm:t>
    </dgm:pt>
    <dgm:pt modelId="{DE97EAA0-2D01-4039-B444-AA0903BC26F3}" type="parTrans" cxnId="{DB63B0C6-B355-4B0A-994E-53BE104258F2}">
      <dgm:prSet/>
      <dgm:spPr/>
      <dgm:t>
        <a:bodyPr/>
        <a:lstStyle/>
        <a:p>
          <a:endParaRPr lang="en-US"/>
        </a:p>
      </dgm:t>
    </dgm:pt>
    <dgm:pt modelId="{F6A4B61B-8D01-48D8-B0BE-0B9FAD6829CF}" type="sibTrans" cxnId="{DB63B0C6-B355-4B0A-994E-53BE104258F2}">
      <dgm:prSet/>
      <dgm:spPr/>
      <dgm:t>
        <a:bodyPr/>
        <a:lstStyle/>
        <a:p>
          <a:endParaRPr lang="en-US"/>
        </a:p>
      </dgm:t>
    </dgm:pt>
    <dgm:pt modelId="{2A02987F-C7A2-439A-8095-D33661978635}">
      <dgm:prSet phldrT="[Text]"/>
      <dgm:spPr/>
      <dgm:t>
        <a:bodyPr/>
        <a:lstStyle/>
        <a:p>
          <a:r>
            <a:rPr lang="en-US" dirty="0"/>
            <a:t>User Acceptance Testing</a:t>
          </a:r>
        </a:p>
      </dgm:t>
    </dgm:pt>
    <dgm:pt modelId="{30D9C955-4481-43C7-A4B3-7B46D0BE4F83}" type="parTrans" cxnId="{E89310E2-1AD9-42CE-86C8-6DE7E28CA15C}">
      <dgm:prSet/>
      <dgm:spPr/>
      <dgm:t>
        <a:bodyPr/>
        <a:lstStyle/>
        <a:p>
          <a:endParaRPr lang="en-US"/>
        </a:p>
      </dgm:t>
    </dgm:pt>
    <dgm:pt modelId="{EAA711FD-A994-405A-9EC6-2457EB471BC9}" type="sibTrans" cxnId="{E89310E2-1AD9-42CE-86C8-6DE7E28CA15C}">
      <dgm:prSet/>
      <dgm:spPr/>
      <dgm:t>
        <a:bodyPr/>
        <a:lstStyle/>
        <a:p>
          <a:endParaRPr lang="en-US"/>
        </a:p>
      </dgm:t>
    </dgm:pt>
    <dgm:pt modelId="{7B86215E-2535-4F12-9C02-011879D5AEA8}">
      <dgm:prSet phldrT="[Text]"/>
      <dgm:spPr/>
      <dgm:t>
        <a:bodyPr/>
        <a:lstStyle/>
        <a:p>
          <a:r>
            <a:rPr lang="en-US" dirty="0"/>
            <a:t>System Admin Training session</a:t>
          </a:r>
        </a:p>
      </dgm:t>
    </dgm:pt>
    <dgm:pt modelId="{3AA12836-CA18-4CAA-BFD9-9AF7911622A9}" type="parTrans" cxnId="{5D241F04-3FB1-4CB0-89F2-D57441F944D9}">
      <dgm:prSet/>
      <dgm:spPr/>
      <dgm:t>
        <a:bodyPr/>
        <a:lstStyle/>
        <a:p>
          <a:endParaRPr lang="en-US"/>
        </a:p>
      </dgm:t>
    </dgm:pt>
    <dgm:pt modelId="{347C4F20-7082-4D86-889A-29222369B57F}" type="sibTrans" cxnId="{5D241F04-3FB1-4CB0-89F2-D57441F944D9}">
      <dgm:prSet/>
      <dgm:spPr/>
      <dgm:t>
        <a:bodyPr/>
        <a:lstStyle/>
        <a:p>
          <a:endParaRPr lang="en-US"/>
        </a:p>
      </dgm:t>
    </dgm:pt>
    <dgm:pt modelId="{E6F6120B-7A62-4A08-A19D-B77DA659A147}">
      <dgm:prSet phldrT="[Text]"/>
      <dgm:spPr/>
      <dgm:t>
        <a:bodyPr/>
        <a:lstStyle/>
        <a:p>
          <a:r>
            <a:rPr lang="en-US" dirty="0"/>
            <a:t>End User Training session</a:t>
          </a:r>
        </a:p>
      </dgm:t>
    </dgm:pt>
    <dgm:pt modelId="{BA2FEF73-DB8A-498E-85A4-7084C8F46AFE}" type="parTrans" cxnId="{9AA976A7-A15E-4A55-94F4-7267C6319F24}">
      <dgm:prSet/>
      <dgm:spPr/>
      <dgm:t>
        <a:bodyPr/>
        <a:lstStyle/>
        <a:p>
          <a:endParaRPr lang="en-US"/>
        </a:p>
      </dgm:t>
    </dgm:pt>
    <dgm:pt modelId="{C5D10B11-9D06-4313-B43F-7270C59DDF1A}" type="sibTrans" cxnId="{9AA976A7-A15E-4A55-94F4-7267C6319F24}">
      <dgm:prSet/>
      <dgm:spPr/>
      <dgm:t>
        <a:bodyPr/>
        <a:lstStyle/>
        <a:p>
          <a:endParaRPr lang="en-US"/>
        </a:p>
      </dgm:t>
    </dgm:pt>
    <dgm:pt modelId="{DD58D906-3FFC-444C-9DED-A1F21C71ABBC}">
      <dgm:prSet phldrT="[Text]"/>
      <dgm:spPr/>
      <dgm:t>
        <a:bodyPr/>
        <a:lstStyle/>
        <a:p>
          <a:r>
            <a:rPr lang="en-US" dirty="0"/>
            <a:t>Hypercare post Go-Live </a:t>
          </a:r>
        </a:p>
      </dgm:t>
    </dgm:pt>
    <dgm:pt modelId="{EC53ACC6-A28D-4FE1-B03D-5098287EB25B}" type="parTrans" cxnId="{DD970C49-EC94-42B3-8CCD-D9ACABDB6B83}">
      <dgm:prSet/>
      <dgm:spPr/>
      <dgm:t>
        <a:bodyPr/>
        <a:lstStyle/>
        <a:p>
          <a:endParaRPr lang="en-US"/>
        </a:p>
      </dgm:t>
    </dgm:pt>
    <dgm:pt modelId="{57A1ABD0-89C2-4651-8EA5-DDDAF977754D}" type="sibTrans" cxnId="{DD970C49-EC94-42B3-8CCD-D9ACABDB6B83}">
      <dgm:prSet/>
      <dgm:spPr/>
      <dgm:t>
        <a:bodyPr/>
        <a:lstStyle/>
        <a:p>
          <a:endParaRPr lang="en-US"/>
        </a:p>
      </dgm:t>
    </dgm:pt>
    <dgm:pt modelId="{B6D99A51-701F-4E02-9037-2738A38DF3FF}">
      <dgm:prSet phldrT="[Text]"/>
      <dgm:spPr/>
      <dgm:t>
        <a:bodyPr/>
        <a:lstStyle/>
        <a:p>
          <a:r>
            <a:rPr lang="en-US" dirty="0"/>
            <a:t>Project close-out </a:t>
          </a:r>
        </a:p>
      </dgm:t>
    </dgm:pt>
    <dgm:pt modelId="{D353DE76-E381-4DE8-81A4-422922BAC37A}" type="parTrans" cxnId="{2FD5F581-ED69-4062-8707-FBA55EE43587}">
      <dgm:prSet/>
      <dgm:spPr/>
      <dgm:t>
        <a:bodyPr/>
        <a:lstStyle/>
        <a:p>
          <a:endParaRPr lang="en-US"/>
        </a:p>
      </dgm:t>
    </dgm:pt>
    <dgm:pt modelId="{06325E4E-281B-4BB1-8572-5F825FA79349}" type="sibTrans" cxnId="{2FD5F581-ED69-4062-8707-FBA55EE43587}">
      <dgm:prSet/>
      <dgm:spPr/>
      <dgm:t>
        <a:bodyPr/>
        <a:lstStyle/>
        <a:p>
          <a:endParaRPr lang="en-US"/>
        </a:p>
      </dgm:t>
    </dgm:pt>
    <dgm:pt modelId="{1CA2F48D-68D9-4422-B8F4-E7364FF80EC1}">
      <dgm:prSet phldrT="[Text]"/>
      <dgm:spPr/>
      <dgm:t>
        <a:bodyPr/>
        <a:lstStyle/>
        <a:p>
          <a:r>
            <a:rPr lang="en-US"/>
            <a:t>Solution </a:t>
          </a:r>
          <a:r>
            <a:rPr lang="en-US" dirty="0"/>
            <a:t>deployment to Production (Go-Live) </a:t>
          </a:r>
        </a:p>
      </dgm:t>
    </dgm:pt>
    <dgm:pt modelId="{2D40B700-8B0E-4039-AD13-46EDD9319ACF}" type="parTrans" cxnId="{EE4BEC0B-DF6E-4347-A3E5-0A341A01B48B}">
      <dgm:prSet/>
      <dgm:spPr/>
      <dgm:t>
        <a:bodyPr/>
        <a:lstStyle/>
        <a:p>
          <a:endParaRPr lang="en-US"/>
        </a:p>
      </dgm:t>
    </dgm:pt>
    <dgm:pt modelId="{77158DBA-6CE1-477C-81EB-51083EA36F13}" type="sibTrans" cxnId="{EE4BEC0B-DF6E-4347-A3E5-0A341A01B48B}">
      <dgm:prSet/>
      <dgm:spPr/>
      <dgm:t>
        <a:bodyPr/>
        <a:lstStyle/>
        <a:p>
          <a:endParaRPr lang="en-US"/>
        </a:p>
      </dgm:t>
    </dgm:pt>
    <dgm:pt modelId="{E79FF656-D34C-4FC1-BB7D-7CF7299362E8}" type="pres">
      <dgm:prSet presAssocID="{DA8C6821-6F31-4C28-81A5-326CC4D3AD19}" presName="Name0" presStyleCnt="0">
        <dgm:presLayoutVars>
          <dgm:dir/>
          <dgm:animLvl val="lvl"/>
          <dgm:resizeHandles val="exact"/>
        </dgm:presLayoutVars>
      </dgm:prSet>
      <dgm:spPr/>
    </dgm:pt>
    <dgm:pt modelId="{7FFC63F3-EFF5-415C-BA72-92FC3737D3DD}" type="pres">
      <dgm:prSet presAssocID="{F031F4B2-AD0A-4994-9AEA-7C81AB0A4DDF}" presName="composite" presStyleCnt="0"/>
      <dgm:spPr/>
    </dgm:pt>
    <dgm:pt modelId="{BDAD6EBA-34C4-4974-BE3D-B0A38AD42AEA}" type="pres">
      <dgm:prSet presAssocID="{F031F4B2-AD0A-4994-9AEA-7C81AB0A4DDF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1E106666-570E-426F-A185-7EA2E17EDAC2}" type="pres">
      <dgm:prSet presAssocID="{F031F4B2-AD0A-4994-9AEA-7C81AB0A4DDF}" presName="desTx" presStyleLbl="revTx" presStyleIdx="0" presStyleCnt="5">
        <dgm:presLayoutVars>
          <dgm:bulletEnabled val="1"/>
        </dgm:presLayoutVars>
      </dgm:prSet>
      <dgm:spPr/>
    </dgm:pt>
    <dgm:pt modelId="{5D2C41E3-9344-424A-B98C-7A7FDBC8E1D6}" type="pres">
      <dgm:prSet presAssocID="{65B5FC82-DA0E-49E9-8E3C-1C441E3B9C3B}" presName="space" presStyleCnt="0"/>
      <dgm:spPr/>
    </dgm:pt>
    <dgm:pt modelId="{F0D82B4E-95B4-4F3A-ADF1-41B748DF57E5}" type="pres">
      <dgm:prSet presAssocID="{84BC0D3F-66D9-4C3C-9E92-4C2E749D9785}" presName="composite" presStyleCnt="0"/>
      <dgm:spPr/>
    </dgm:pt>
    <dgm:pt modelId="{04BE3871-CE99-4716-808B-FA33BFE19695}" type="pres">
      <dgm:prSet presAssocID="{84BC0D3F-66D9-4C3C-9E92-4C2E749D9785}" presName="par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87E8E1D6-FF90-4DF7-ACCA-CD44372693F8}" type="pres">
      <dgm:prSet presAssocID="{84BC0D3F-66D9-4C3C-9E92-4C2E749D9785}" presName="desTx" presStyleLbl="revTx" presStyleIdx="1" presStyleCnt="5">
        <dgm:presLayoutVars>
          <dgm:bulletEnabled val="1"/>
        </dgm:presLayoutVars>
      </dgm:prSet>
      <dgm:spPr/>
    </dgm:pt>
    <dgm:pt modelId="{A22468BA-43A8-4B0E-A807-4DE585953772}" type="pres">
      <dgm:prSet presAssocID="{5512DAF5-6A5A-4514-B497-AA3C929C7C7B}" presName="space" presStyleCnt="0"/>
      <dgm:spPr/>
    </dgm:pt>
    <dgm:pt modelId="{56C12C64-E74A-45DF-BD8D-255DA03C608B}" type="pres">
      <dgm:prSet presAssocID="{725E5F7E-3F9C-4392-9536-EDE749216822}" presName="composite" presStyleCnt="0"/>
      <dgm:spPr/>
    </dgm:pt>
    <dgm:pt modelId="{7F96745E-6F79-44B6-BFDA-757E981C7886}" type="pres">
      <dgm:prSet presAssocID="{725E5F7E-3F9C-4392-9536-EDE749216822}" presName="par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AEDD9E47-30E7-4C93-8E94-F01FC03D0566}" type="pres">
      <dgm:prSet presAssocID="{725E5F7E-3F9C-4392-9536-EDE749216822}" presName="desTx" presStyleLbl="revTx" presStyleIdx="2" presStyleCnt="5">
        <dgm:presLayoutVars>
          <dgm:bulletEnabled val="1"/>
        </dgm:presLayoutVars>
      </dgm:prSet>
      <dgm:spPr/>
    </dgm:pt>
    <dgm:pt modelId="{BEC4E608-1809-4231-AC77-61762AC9CBEC}" type="pres">
      <dgm:prSet presAssocID="{215E9B5F-1CA3-42B2-B4A5-6C569B31857A}" presName="space" presStyleCnt="0"/>
      <dgm:spPr/>
    </dgm:pt>
    <dgm:pt modelId="{477A1505-D6F1-49A6-B90D-5CB4B982EBB8}" type="pres">
      <dgm:prSet presAssocID="{33DC3568-60E8-4F19-97FA-3AA58A2BE80F}" presName="composite" presStyleCnt="0"/>
      <dgm:spPr/>
    </dgm:pt>
    <dgm:pt modelId="{0B23EDB2-FC0C-4A7C-9242-083D81C32276}" type="pres">
      <dgm:prSet presAssocID="{33DC3568-60E8-4F19-97FA-3AA58A2BE80F}" presName="par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8255F1FB-7856-4382-8A10-C5C8953F3E2F}" type="pres">
      <dgm:prSet presAssocID="{33DC3568-60E8-4F19-97FA-3AA58A2BE80F}" presName="desTx" presStyleLbl="revTx" presStyleIdx="3" presStyleCnt="5" custScaleX="119574">
        <dgm:presLayoutVars>
          <dgm:bulletEnabled val="1"/>
        </dgm:presLayoutVars>
      </dgm:prSet>
      <dgm:spPr/>
    </dgm:pt>
    <dgm:pt modelId="{2A5C3A53-2072-40ED-A622-90C939950635}" type="pres">
      <dgm:prSet presAssocID="{984A2A4E-4E23-4984-BEBA-EE4FE2027D3A}" presName="space" presStyleCnt="0"/>
      <dgm:spPr/>
    </dgm:pt>
    <dgm:pt modelId="{8964FF08-D186-4B2C-82AE-0ED03BB9C8B7}" type="pres">
      <dgm:prSet presAssocID="{BBA50D97-4661-40B4-957B-8E9BC194C7BB}" presName="composite" presStyleCnt="0"/>
      <dgm:spPr/>
    </dgm:pt>
    <dgm:pt modelId="{39527092-324C-47AF-BBEA-AC896046D740}" type="pres">
      <dgm:prSet presAssocID="{BBA50D97-4661-40B4-957B-8E9BC194C7BB}" presName="parTx" presStyleLbl="node1" presStyleIdx="4" presStyleCnt="5">
        <dgm:presLayoutVars>
          <dgm:chMax val="0"/>
          <dgm:chPref val="0"/>
          <dgm:bulletEnabled val="1"/>
        </dgm:presLayoutVars>
      </dgm:prSet>
      <dgm:spPr/>
    </dgm:pt>
    <dgm:pt modelId="{2813497D-F04C-4424-9F7D-C8282C208F0C}" type="pres">
      <dgm:prSet presAssocID="{BBA50D97-4661-40B4-957B-8E9BC194C7BB}" presName="desTx" presStyleLbl="revTx" presStyleIdx="4" presStyleCnt="5">
        <dgm:presLayoutVars>
          <dgm:bulletEnabled val="1"/>
        </dgm:presLayoutVars>
      </dgm:prSet>
      <dgm:spPr/>
    </dgm:pt>
  </dgm:ptLst>
  <dgm:cxnLst>
    <dgm:cxn modelId="{5D241F04-3FB1-4CB0-89F2-D57441F944D9}" srcId="{33DC3568-60E8-4F19-97FA-3AA58A2BE80F}" destId="{7B86215E-2535-4F12-9C02-011879D5AEA8}" srcOrd="2" destOrd="0" parTransId="{3AA12836-CA18-4CAA-BFD9-9AF7911622A9}" sibTransId="{347C4F20-7082-4D86-889A-29222369B57F}"/>
    <dgm:cxn modelId="{F5822505-84F9-4BE8-91BD-DD0A5E5387F5}" type="presOf" srcId="{33DC3568-60E8-4F19-97FA-3AA58A2BE80F}" destId="{0B23EDB2-FC0C-4A7C-9242-083D81C32276}" srcOrd="0" destOrd="0" presId="urn:microsoft.com/office/officeart/2005/8/layout/chevron1"/>
    <dgm:cxn modelId="{EE4BEC0B-DF6E-4347-A3E5-0A341A01B48B}" srcId="{33DC3568-60E8-4F19-97FA-3AA58A2BE80F}" destId="{1CA2F48D-68D9-4422-B8F4-E7364FF80EC1}" srcOrd="1" destOrd="0" parTransId="{2D40B700-8B0E-4039-AD13-46EDD9319ACF}" sibTransId="{77158DBA-6CE1-477C-81EB-51083EA36F13}"/>
    <dgm:cxn modelId="{816AEB0C-DF3C-4D9D-83BA-CC7400FF6DB2}" type="presOf" srcId="{84BC0D3F-66D9-4C3C-9E92-4C2E749D9785}" destId="{04BE3871-CE99-4716-808B-FA33BFE19695}" srcOrd="0" destOrd="0" presId="urn:microsoft.com/office/officeart/2005/8/layout/chevron1"/>
    <dgm:cxn modelId="{3E271412-EEFE-4B5E-ABE3-600214AC441B}" srcId="{DA8C6821-6F31-4C28-81A5-326CC4D3AD19}" destId="{84BC0D3F-66D9-4C3C-9E92-4C2E749D9785}" srcOrd="1" destOrd="0" parTransId="{EE95C3EA-0ACC-4516-97F4-2D4B8BA349F6}" sibTransId="{5512DAF5-6A5A-4514-B497-AA3C929C7C7B}"/>
    <dgm:cxn modelId="{A819A51A-2A79-4D20-9D89-C457EA681F15}" srcId="{DA8C6821-6F31-4C28-81A5-326CC4D3AD19}" destId="{F031F4B2-AD0A-4994-9AEA-7C81AB0A4DDF}" srcOrd="0" destOrd="0" parTransId="{83163E7D-9D1D-4936-9E3A-B520464C30CA}" sibTransId="{65B5FC82-DA0E-49E9-8E3C-1C441E3B9C3B}"/>
    <dgm:cxn modelId="{72357026-B15D-46EB-A3C5-FEA4BAEEFEE3}" type="presOf" srcId="{2A02987F-C7A2-439A-8095-D33661978635}" destId="{8255F1FB-7856-4382-8A10-C5C8953F3E2F}" srcOrd="0" destOrd="0" presId="urn:microsoft.com/office/officeart/2005/8/layout/chevron1"/>
    <dgm:cxn modelId="{7E493C2E-7012-43E3-9E5F-56A4147631F9}" type="presOf" srcId="{873DDE7F-B392-4605-B07F-025A48AABACC}" destId="{1E106666-570E-426F-A185-7EA2E17EDAC2}" srcOrd="0" destOrd="2" presId="urn:microsoft.com/office/officeart/2005/8/layout/chevron1"/>
    <dgm:cxn modelId="{258FA930-670F-4E17-9523-960CBDDAAB58}" type="presOf" srcId="{F031F4B2-AD0A-4994-9AEA-7C81AB0A4DDF}" destId="{BDAD6EBA-34C4-4974-BE3D-B0A38AD42AEA}" srcOrd="0" destOrd="0" presId="urn:microsoft.com/office/officeart/2005/8/layout/chevron1"/>
    <dgm:cxn modelId="{51206C3E-1029-4BE4-ACEB-31F9D83FF579}" type="presOf" srcId="{A3181552-D31F-41DF-96CC-F93F24F9AC50}" destId="{87E8E1D6-FF90-4DF7-ACCA-CD44372693F8}" srcOrd="0" destOrd="0" presId="urn:microsoft.com/office/officeart/2005/8/layout/chevron1"/>
    <dgm:cxn modelId="{596A1240-6927-406B-B02D-5CA0B751F9EE}" type="presOf" srcId="{1B7A09CE-F9BC-4C7A-8C33-A102D95953E2}" destId="{AEDD9E47-30E7-4C93-8E94-F01FC03D0566}" srcOrd="0" destOrd="1" presId="urn:microsoft.com/office/officeart/2005/8/layout/chevron1"/>
    <dgm:cxn modelId="{0FB56D43-D584-419F-BDCA-D406C7712DF7}" type="presOf" srcId="{C0E410B7-2DF7-4657-8447-51CDCA344D83}" destId="{87E8E1D6-FF90-4DF7-ACCA-CD44372693F8}" srcOrd="0" destOrd="1" presId="urn:microsoft.com/office/officeart/2005/8/layout/chevron1"/>
    <dgm:cxn modelId="{68AAC944-E394-465C-A207-C90E92E0F4A0}" type="presOf" srcId="{B70434FE-EAF2-4A66-B339-BC467E721B66}" destId="{1E106666-570E-426F-A185-7EA2E17EDAC2}" srcOrd="0" destOrd="0" presId="urn:microsoft.com/office/officeart/2005/8/layout/chevron1"/>
    <dgm:cxn modelId="{653E7C67-7213-44F3-9751-0482A2B8F411}" type="presOf" srcId="{E1A804E6-D35D-4914-9146-8831C4171B8E}" destId="{1E106666-570E-426F-A185-7EA2E17EDAC2}" srcOrd="0" destOrd="1" presId="urn:microsoft.com/office/officeart/2005/8/layout/chevron1"/>
    <dgm:cxn modelId="{DC73B967-977B-44E2-BBE5-0ABBDA5579AD}" type="presOf" srcId="{DD58D906-3FFC-444C-9DED-A1F21C71ABBC}" destId="{2813497D-F04C-4424-9F7D-C8282C208F0C}" srcOrd="0" destOrd="0" presId="urn:microsoft.com/office/officeart/2005/8/layout/chevron1"/>
    <dgm:cxn modelId="{DD970C49-EC94-42B3-8CCD-D9ACABDB6B83}" srcId="{BBA50D97-4661-40B4-957B-8E9BC194C7BB}" destId="{DD58D906-3FFC-444C-9DED-A1F21C71ABBC}" srcOrd="0" destOrd="0" parTransId="{EC53ACC6-A28D-4FE1-B03D-5098287EB25B}" sibTransId="{57A1ABD0-89C2-4651-8EA5-DDDAF977754D}"/>
    <dgm:cxn modelId="{64CC666C-90A8-47D4-B6CE-1804EF3AA81A}" type="presOf" srcId="{DA8C6821-6F31-4C28-81A5-326CC4D3AD19}" destId="{E79FF656-D34C-4FC1-BB7D-7CF7299362E8}" srcOrd="0" destOrd="0" presId="urn:microsoft.com/office/officeart/2005/8/layout/chevron1"/>
    <dgm:cxn modelId="{E0AD956D-1E0E-4C62-81E7-421508CC4665}" srcId="{DA8C6821-6F31-4C28-81A5-326CC4D3AD19}" destId="{725E5F7E-3F9C-4392-9536-EDE749216822}" srcOrd="2" destOrd="0" parTransId="{87DCEF03-9C35-4703-A7E1-C201BD3D3ED5}" sibTransId="{215E9B5F-1CA3-42B2-B4A5-6C569B31857A}"/>
    <dgm:cxn modelId="{9CD8786F-2DEB-4FB8-8DB8-0428B90C6FAB}" srcId="{DA8C6821-6F31-4C28-81A5-326CC4D3AD19}" destId="{33DC3568-60E8-4F19-97FA-3AA58A2BE80F}" srcOrd="3" destOrd="0" parTransId="{D5CFDFB4-84B6-4835-A571-1E2C92E87D3A}" sibTransId="{984A2A4E-4E23-4984-BEBA-EE4FE2027D3A}"/>
    <dgm:cxn modelId="{2DB86073-E4BC-46F2-A509-9042F58E2CB9}" type="presOf" srcId="{A94E658C-DF76-40B3-B780-FD2858D84F05}" destId="{AEDD9E47-30E7-4C93-8E94-F01FC03D0566}" srcOrd="0" destOrd="0" presId="urn:microsoft.com/office/officeart/2005/8/layout/chevron1"/>
    <dgm:cxn modelId="{387F8774-E636-4BA9-95FA-02EAF7E94BE6}" srcId="{DA8C6821-6F31-4C28-81A5-326CC4D3AD19}" destId="{BBA50D97-4661-40B4-957B-8E9BC194C7BB}" srcOrd="4" destOrd="0" parTransId="{86B3C4F1-F252-4642-A1ED-A8D44DF8B38C}" sibTransId="{FE1AB927-65D1-4B03-AD60-F9DC7388E767}"/>
    <dgm:cxn modelId="{807A1876-B061-4709-B510-0A5E8F0497E8}" srcId="{725E5F7E-3F9C-4392-9536-EDE749216822}" destId="{1B7A09CE-F9BC-4C7A-8C33-A102D95953E2}" srcOrd="1" destOrd="0" parTransId="{39733E95-B2E8-4D4B-8FFC-57879BBC846B}" sibTransId="{ED6C4A1D-6E22-436B-9D16-1EF1AB597D0C}"/>
    <dgm:cxn modelId="{BC91AE58-1EF8-4145-BE69-9388714C73D2}" srcId="{F031F4B2-AD0A-4994-9AEA-7C81AB0A4DDF}" destId="{B70434FE-EAF2-4A66-B339-BC467E721B66}" srcOrd="0" destOrd="0" parTransId="{FD3C5842-D03E-4DC6-AB75-157083242B9E}" sibTransId="{3B0FBC4A-A30D-4204-9D25-4DECA4732F77}"/>
    <dgm:cxn modelId="{2FD5F581-ED69-4062-8707-FBA55EE43587}" srcId="{BBA50D97-4661-40B4-957B-8E9BC194C7BB}" destId="{B6D99A51-701F-4E02-9037-2738A38DF3FF}" srcOrd="1" destOrd="0" parTransId="{D353DE76-E381-4DE8-81A4-422922BAC37A}" sibTransId="{06325E4E-281B-4BB1-8572-5F825FA79349}"/>
    <dgm:cxn modelId="{6D11EF98-BCB4-4E5D-B01C-0DB71362F970}" type="presOf" srcId="{BBA50D97-4661-40B4-957B-8E9BC194C7BB}" destId="{39527092-324C-47AF-BBEA-AC896046D740}" srcOrd="0" destOrd="0" presId="urn:microsoft.com/office/officeart/2005/8/layout/chevron1"/>
    <dgm:cxn modelId="{9AA976A7-A15E-4A55-94F4-7267C6319F24}" srcId="{33DC3568-60E8-4F19-97FA-3AA58A2BE80F}" destId="{E6F6120B-7A62-4A08-A19D-B77DA659A147}" srcOrd="3" destOrd="0" parTransId="{BA2FEF73-DB8A-498E-85A4-7084C8F46AFE}" sibTransId="{C5D10B11-9D06-4313-B43F-7270C59DDF1A}"/>
    <dgm:cxn modelId="{CE33E7A7-CB9C-4CCD-AD5E-E226CB327B4F}" type="presOf" srcId="{725E5F7E-3F9C-4392-9536-EDE749216822}" destId="{7F96745E-6F79-44B6-BFDA-757E981C7886}" srcOrd="0" destOrd="0" presId="urn:microsoft.com/office/officeart/2005/8/layout/chevron1"/>
    <dgm:cxn modelId="{B332DAA8-C11B-4CEF-80A3-FE8A1402AD9B}" srcId="{F031F4B2-AD0A-4994-9AEA-7C81AB0A4DDF}" destId="{E1A804E6-D35D-4914-9146-8831C4171B8E}" srcOrd="1" destOrd="0" parTransId="{0181E88D-28B4-4D3D-9A08-D7877EFF7341}" sibTransId="{56D87959-B60E-460C-B129-DE9BAB125A62}"/>
    <dgm:cxn modelId="{F818A5B3-8395-426E-8B1D-798C89EDC56F}" type="presOf" srcId="{1CA2F48D-68D9-4422-B8F4-E7364FF80EC1}" destId="{8255F1FB-7856-4382-8A10-C5C8953F3E2F}" srcOrd="0" destOrd="1" presId="urn:microsoft.com/office/officeart/2005/8/layout/chevron1"/>
    <dgm:cxn modelId="{827085BB-224D-4255-8F53-03CB613E2E81}" srcId="{84BC0D3F-66D9-4C3C-9E92-4C2E749D9785}" destId="{C0E410B7-2DF7-4657-8447-51CDCA344D83}" srcOrd="1" destOrd="0" parTransId="{AE0767BB-531D-431F-94AB-76A8BB2F59F7}" sibTransId="{242DE3BD-5616-4ECC-8EA4-16B0CF6E974D}"/>
    <dgm:cxn modelId="{0DCC92BB-6A67-44D9-8C3F-55DC2B27961D}" type="presOf" srcId="{D3593626-D83F-4CF8-AE77-89B857DFA84D}" destId="{AEDD9E47-30E7-4C93-8E94-F01FC03D0566}" srcOrd="0" destOrd="2" presId="urn:microsoft.com/office/officeart/2005/8/layout/chevron1"/>
    <dgm:cxn modelId="{A25C69BC-0235-4D6D-A775-BB4CA9FC9BC6}" srcId="{725E5F7E-3F9C-4392-9536-EDE749216822}" destId="{A94E658C-DF76-40B3-B780-FD2858D84F05}" srcOrd="0" destOrd="0" parTransId="{6DB8521D-2A72-4581-BA32-8663996A713E}" sibTransId="{B1C7D72A-3980-439F-BBBA-6683BC6EFDA4}"/>
    <dgm:cxn modelId="{DB63B0C6-B355-4B0A-994E-53BE104258F2}" srcId="{725E5F7E-3F9C-4392-9536-EDE749216822}" destId="{D3593626-D83F-4CF8-AE77-89B857DFA84D}" srcOrd="2" destOrd="0" parTransId="{DE97EAA0-2D01-4039-B444-AA0903BC26F3}" sibTransId="{F6A4B61B-8D01-48D8-B0BE-0B9FAD6829CF}"/>
    <dgm:cxn modelId="{F7C7F1CD-0EFE-4AA0-BCA5-472FF8A24AEC}" srcId="{84BC0D3F-66D9-4C3C-9E92-4C2E749D9785}" destId="{A3181552-D31F-41DF-96CC-F93F24F9AC50}" srcOrd="0" destOrd="0" parTransId="{766605AF-1097-4D91-93C1-689901CBA9FD}" sibTransId="{421E2B2E-740B-4BD7-AEAB-5362B579C904}"/>
    <dgm:cxn modelId="{E89310E2-1AD9-42CE-86C8-6DE7E28CA15C}" srcId="{33DC3568-60E8-4F19-97FA-3AA58A2BE80F}" destId="{2A02987F-C7A2-439A-8095-D33661978635}" srcOrd="0" destOrd="0" parTransId="{30D9C955-4481-43C7-A4B3-7B46D0BE4F83}" sibTransId="{EAA711FD-A994-405A-9EC6-2457EB471BC9}"/>
    <dgm:cxn modelId="{7A231AE2-702D-43B8-8F1F-64ED9B6F9953}" type="presOf" srcId="{E6F6120B-7A62-4A08-A19D-B77DA659A147}" destId="{8255F1FB-7856-4382-8A10-C5C8953F3E2F}" srcOrd="0" destOrd="3" presId="urn:microsoft.com/office/officeart/2005/8/layout/chevron1"/>
    <dgm:cxn modelId="{64B6F1E8-2975-46A1-9FA5-3D271B52805A}" type="presOf" srcId="{7B86215E-2535-4F12-9C02-011879D5AEA8}" destId="{8255F1FB-7856-4382-8A10-C5C8953F3E2F}" srcOrd="0" destOrd="2" presId="urn:microsoft.com/office/officeart/2005/8/layout/chevron1"/>
    <dgm:cxn modelId="{85B9C9EE-63D9-4C26-AD46-A65666B96DFA}" type="presOf" srcId="{B6D99A51-701F-4E02-9037-2738A38DF3FF}" destId="{2813497D-F04C-4424-9F7D-C8282C208F0C}" srcOrd="0" destOrd="1" presId="urn:microsoft.com/office/officeart/2005/8/layout/chevron1"/>
    <dgm:cxn modelId="{A3605AF5-4B9F-4B41-A5DB-7EEB8966B02C}" srcId="{F031F4B2-AD0A-4994-9AEA-7C81AB0A4DDF}" destId="{873DDE7F-B392-4605-B07F-025A48AABACC}" srcOrd="2" destOrd="0" parTransId="{CB28F4B1-2852-41ED-B04F-3BE16CE79AAC}" sibTransId="{EE2D544F-EC58-40A6-A59A-88370FDD0D99}"/>
    <dgm:cxn modelId="{1C243F6E-57C7-46A0-9312-41F3CEAEE138}" type="presParOf" srcId="{E79FF656-D34C-4FC1-BB7D-7CF7299362E8}" destId="{7FFC63F3-EFF5-415C-BA72-92FC3737D3DD}" srcOrd="0" destOrd="0" presId="urn:microsoft.com/office/officeart/2005/8/layout/chevron1"/>
    <dgm:cxn modelId="{73B4EB21-DF04-44F3-A0A8-C39662219798}" type="presParOf" srcId="{7FFC63F3-EFF5-415C-BA72-92FC3737D3DD}" destId="{BDAD6EBA-34C4-4974-BE3D-B0A38AD42AEA}" srcOrd="0" destOrd="0" presId="urn:microsoft.com/office/officeart/2005/8/layout/chevron1"/>
    <dgm:cxn modelId="{71A2C571-C208-4EFC-9B90-5B8E85100AAC}" type="presParOf" srcId="{7FFC63F3-EFF5-415C-BA72-92FC3737D3DD}" destId="{1E106666-570E-426F-A185-7EA2E17EDAC2}" srcOrd="1" destOrd="0" presId="urn:microsoft.com/office/officeart/2005/8/layout/chevron1"/>
    <dgm:cxn modelId="{A5FB22B2-0E92-498A-8C9B-39192303A245}" type="presParOf" srcId="{E79FF656-D34C-4FC1-BB7D-7CF7299362E8}" destId="{5D2C41E3-9344-424A-B98C-7A7FDBC8E1D6}" srcOrd="1" destOrd="0" presId="urn:microsoft.com/office/officeart/2005/8/layout/chevron1"/>
    <dgm:cxn modelId="{1F968362-BAA4-4B45-8524-D53926B92009}" type="presParOf" srcId="{E79FF656-D34C-4FC1-BB7D-7CF7299362E8}" destId="{F0D82B4E-95B4-4F3A-ADF1-41B748DF57E5}" srcOrd="2" destOrd="0" presId="urn:microsoft.com/office/officeart/2005/8/layout/chevron1"/>
    <dgm:cxn modelId="{C6755B73-699B-42A6-89F8-F0F7AF100BA5}" type="presParOf" srcId="{F0D82B4E-95B4-4F3A-ADF1-41B748DF57E5}" destId="{04BE3871-CE99-4716-808B-FA33BFE19695}" srcOrd="0" destOrd="0" presId="urn:microsoft.com/office/officeart/2005/8/layout/chevron1"/>
    <dgm:cxn modelId="{67C7B75D-26E5-4767-AAB9-9E38CDE6B9F8}" type="presParOf" srcId="{F0D82B4E-95B4-4F3A-ADF1-41B748DF57E5}" destId="{87E8E1D6-FF90-4DF7-ACCA-CD44372693F8}" srcOrd="1" destOrd="0" presId="urn:microsoft.com/office/officeart/2005/8/layout/chevron1"/>
    <dgm:cxn modelId="{8C399F6E-28DB-4EA9-93A4-30D04954AA04}" type="presParOf" srcId="{E79FF656-D34C-4FC1-BB7D-7CF7299362E8}" destId="{A22468BA-43A8-4B0E-A807-4DE585953772}" srcOrd="3" destOrd="0" presId="urn:microsoft.com/office/officeart/2005/8/layout/chevron1"/>
    <dgm:cxn modelId="{54B3B62D-9D22-4C24-9A01-1C39AF3CA273}" type="presParOf" srcId="{E79FF656-D34C-4FC1-BB7D-7CF7299362E8}" destId="{56C12C64-E74A-45DF-BD8D-255DA03C608B}" srcOrd="4" destOrd="0" presId="urn:microsoft.com/office/officeart/2005/8/layout/chevron1"/>
    <dgm:cxn modelId="{FE623FD3-7C18-4B41-B02A-9DA83458004E}" type="presParOf" srcId="{56C12C64-E74A-45DF-BD8D-255DA03C608B}" destId="{7F96745E-6F79-44B6-BFDA-757E981C7886}" srcOrd="0" destOrd="0" presId="urn:microsoft.com/office/officeart/2005/8/layout/chevron1"/>
    <dgm:cxn modelId="{AC1D9577-F3D8-4DC7-B6AE-ECF826399219}" type="presParOf" srcId="{56C12C64-E74A-45DF-BD8D-255DA03C608B}" destId="{AEDD9E47-30E7-4C93-8E94-F01FC03D0566}" srcOrd="1" destOrd="0" presId="urn:microsoft.com/office/officeart/2005/8/layout/chevron1"/>
    <dgm:cxn modelId="{8F63E43B-AF36-4ED5-88D7-CC29C4FB42B6}" type="presParOf" srcId="{E79FF656-D34C-4FC1-BB7D-7CF7299362E8}" destId="{BEC4E608-1809-4231-AC77-61762AC9CBEC}" srcOrd="5" destOrd="0" presId="urn:microsoft.com/office/officeart/2005/8/layout/chevron1"/>
    <dgm:cxn modelId="{23D28583-399A-48D3-A641-318332AC9236}" type="presParOf" srcId="{E79FF656-D34C-4FC1-BB7D-7CF7299362E8}" destId="{477A1505-D6F1-49A6-B90D-5CB4B982EBB8}" srcOrd="6" destOrd="0" presId="urn:microsoft.com/office/officeart/2005/8/layout/chevron1"/>
    <dgm:cxn modelId="{6BC7FAA8-19DC-4FD3-BE03-2A3074BDD843}" type="presParOf" srcId="{477A1505-D6F1-49A6-B90D-5CB4B982EBB8}" destId="{0B23EDB2-FC0C-4A7C-9242-083D81C32276}" srcOrd="0" destOrd="0" presId="urn:microsoft.com/office/officeart/2005/8/layout/chevron1"/>
    <dgm:cxn modelId="{34071179-D1C1-4820-AA0F-C7E8811C841A}" type="presParOf" srcId="{477A1505-D6F1-49A6-B90D-5CB4B982EBB8}" destId="{8255F1FB-7856-4382-8A10-C5C8953F3E2F}" srcOrd="1" destOrd="0" presId="urn:microsoft.com/office/officeart/2005/8/layout/chevron1"/>
    <dgm:cxn modelId="{5D3F9D9E-3314-483E-8090-645D512F5B56}" type="presParOf" srcId="{E79FF656-D34C-4FC1-BB7D-7CF7299362E8}" destId="{2A5C3A53-2072-40ED-A622-90C939950635}" srcOrd="7" destOrd="0" presId="urn:microsoft.com/office/officeart/2005/8/layout/chevron1"/>
    <dgm:cxn modelId="{7AAC4D78-A8FD-4FB3-B54B-0901970499DF}" type="presParOf" srcId="{E79FF656-D34C-4FC1-BB7D-7CF7299362E8}" destId="{8964FF08-D186-4B2C-82AE-0ED03BB9C8B7}" srcOrd="8" destOrd="0" presId="urn:microsoft.com/office/officeart/2005/8/layout/chevron1"/>
    <dgm:cxn modelId="{3DA41508-FFC7-4E98-AC69-B6F953E4A80A}" type="presParOf" srcId="{8964FF08-D186-4B2C-82AE-0ED03BB9C8B7}" destId="{39527092-324C-47AF-BBEA-AC896046D740}" srcOrd="0" destOrd="0" presId="urn:microsoft.com/office/officeart/2005/8/layout/chevron1"/>
    <dgm:cxn modelId="{CA41D85B-B8F0-4389-A56A-B651EA44AF1E}" type="presParOf" srcId="{8964FF08-D186-4B2C-82AE-0ED03BB9C8B7}" destId="{2813497D-F04C-4424-9F7D-C8282C208F0C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AD6EBA-34C4-4974-BE3D-B0A38AD42AEA}">
      <dsp:nvSpPr>
        <dsp:cNvPr id="0" name=""/>
        <dsp:cNvSpPr/>
      </dsp:nvSpPr>
      <dsp:spPr>
        <a:xfrm>
          <a:off x="459" y="63410"/>
          <a:ext cx="2365691" cy="7020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lan</a:t>
          </a:r>
        </a:p>
      </dsp:txBody>
      <dsp:txXfrm>
        <a:off x="351459" y="63410"/>
        <a:ext cx="1663691" cy="702000"/>
      </dsp:txXfrm>
    </dsp:sp>
    <dsp:sp modelId="{1E106666-570E-426F-A185-7EA2E17EDAC2}">
      <dsp:nvSpPr>
        <dsp:cNvPr id="0" name=""/>
        <dsp:cNvSpPr/>
      </dsp:nvSpPr>
      <dsp:spPr>
        <a:xfrm>
          <a:off x="459" y="853160"/>
          <a:ext cx="1892553" cy="15124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Project set up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Project Kickoff Meeting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Environment set up and license assignment</a:t>
          </a:r>
        </a:p>
      </dsp:txBody>
      <dsp:txXfrm>
        <a:off x="459" y="853160"/>
        <a:ext cx="1892553" cy="1512402"/>
      </dsp:txXfrm>
    </dsp:sp>
    <dsp:sp modelId="{04BE3871-CE99-4716-808B-FA33BFE19695}">
      <dsp:nvSpPr>
        <dsp:cNvPr id="0" name=""/>
        <dsp:cNvSpPr/>
      </dsp:nvSpPr>
      <dsp:spPr>
        <a:xfrm>
          <a:off x="2150151" y="63410"/>
          <a:ext cx="2365691" cy="7020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Analyze &amp; Design</a:t>
          </a:r>
        </a:p>
      </dsp:txBody>
      <dsp:txXfrm>
        <a:off x="2501151" y="63410"/>
        <a:ext cx="1663691" cy="702000"/>
      </dsp:txXfrm>
    </dsp:sp>
    <dsp:sp modelId="{87E8E1D6-FF90-4DF7-ACCA-CD44372693F8}">
      <dsp:nvSpPr>
        <dsp:cNvPr id="0" name=""/>
        <dsp:cNvSpPr/>
      </dsp:nvSpPr>
      <dsp:spPr>
        <a:xfrm>
          <a:off x="2150151" y="853160"/>
          <a:ext cx="1892553" cy="15124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Velosio to provide design templates based on successful sales deployment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Collaborative review of primary screen requirements</a:t>
          </a:r>
        </a:p>
      </dsp:txBody>
      <dsp:txXfrm>
        <a:off x="2150151" y="853160"/>
        <a:ext cx="1892553" cy="1512402"/>
      </dsp:txXfrm>
    </dsp:sp>
    <dsp:sp modelId="{7F96745E-6F79-44B6-BFDA-757E981C7886}">
      <dsp:nvSpPr>
        <dsp:cNvPr id="0" name=""/>
        <dsp:cNvSpPr/>
      </dsp:nvSpPr>
      <dsp:spPr>
        <a:xfrm>
          <a:off x="4299842" y="63410"/>
          <a:ext cx="2365691" cy="702000"/>
        </a:xfrm>
        <a:prstGeom prst="chevron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Configure</a:t>
          </a:r>
        </a:p>
      </dsp:txBody>
      <dsp:txXfrm>
        <a:off x="4650842" y="63410"/>
        <a:ext cx="1663691" cy="702000"/>
      </dsp:txXfrm>
    </dsp:sp>
    <dsp:sp modelId="{AEDD9E47-30E7-4C93-8E94-F01FC03D0566}">
      <dsp:nvSpPr>
        <dsp:cNvPr id="0" name=""/>
        <dsp:cNvSpPr/>
      </dsp:nvSpPr>
      <dsp:spPr>
        <a:xfrm>
          <a:off x="4299842" y="853160"/>
          <a:ext cx="1892553" cy="15124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Core configuration for Accounts, Contacts, Leads, Opportunities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Conference Room Pilot (CRP) for hands-on review and feedback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Data Migration training &amp; support</a:t>
          </a:r>
          <a:endParaRPr lang="en-US" sz="1300" kern="1200" dirty="0"/>
        </a:p>
      </dsp:txBody>
      <dsp:txXfrm>
        <a:off x="4299842" y="853160"/>
        <a:ext cx="1892553" cy="1512402"/>
      </dsp:txXfrm>
    </dsp:sp>
    <dsp:sp modelId="{0B23EDB2-FC0C-4A7C-9242-083D81C32276}">
      <dsp:nvSpPr>
        <dsp:cNvPr id="0" name=""/>
        <dsp:cNvSpPr/>
      </dsp:nvSpPr>
      <dsp:spPr>
        <a:xfrm>
          <a:off x="6634757" y="63410"/>
          <a:ext cx="2365691" cy="702000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Deploy</a:t>
          </a:r>
        </a:p>
      </dsp:txBody>
      <dsp:txXfrm>
        <a:off x="6985757" y="63410"/>
        <a:ext cx="1663691" cy="702000"/>
      </dsp:txXfrm>
    </dsp:sp>
    <dsp:sp modelId="{8255F1FB-7856-4382-8A10-C5C8953F3E2F}">
      <dsp:nvSpPr>
        <dsp:cNvPr id="0" name=""/>
        <dsp:cNvSpPr/>
      </dsp:nvSpPr>
      <dsp:spPr>
        <a:xfrm>
          <a:off x="6449533" y="853160"/>
          <a:ext cx="2263001" cy="15124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User Acceptance Testin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Solution </a:t>
          </a:r>
          <a:r>
            <a:rPr lang="en-US" sz="1300" kern="1200" dirty="0"/>
            <a:t>deployment to Production (Go-Live)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ystem Admin Training sess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End User Training session</a:t>
          </a:r>
        </a:p>
      </dsp:txBody>
      <dsp:txXfrm>
        <a:off x="6449533" y="853160"/>
        <a:ext cx="2263001" cy="1512402"/>
      </dsp:txXfrm>
    </dsp:sp>
    <dsp:sp modelId="{39527092-324C-47AF-BBEA-AC896046D740}">
      <dsp:nvSpPr>
        <dsp:cNvPr id="0" name=""/>
        <dsp:cNvSpPr/>
      </dsp:nvSpPr>
      <dsp:spPr>
        <a:xfrm>
          <a:off x="8784448" y="63410"/>
          <a:ext cx="2365691" cy="702000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Go-Live Support</a:t>
          </a:r>
        </a:p>
      </dsp:txBody>
      <dsp:txXfrm>
        <a:off x="9135448" y="63410"/>
        <a:ext cx="1663691" cy="702000"/>
      </dsp:txXfrm>
    </dsp:sp>
    <dsp:sp modelId="{2813497D-F04C-4424-9F7D-C8282C208F0C}">
      <dsp:nvSpPr>
        <dsp:cNvPr id="0" name=""/>
        <dsp:cNvSpPr/>
      </dsp:nvSpPr>
      <dsp:spPr>
        <a:xfrm>
          <a:off x="8784448" y="853160"/>
          <a:ext cx="1892553" cy="15124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Hypercare post Go-Live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Project close-out </a:t>
          </a:r>
        </a:p>
      </dsp:txBody>
      <dsp:txXfrm>
        <a:off x="8784448" y="853160"/>
        <a:ext cx="1892553" cy="15124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48E56B-C3FE-44B8-8526-EE89DF776574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A2F51-B5C3-42B7-BE13-30149D27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193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7184BF-BDAB-470B-ABCB-C7CE5DBFFC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4458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7184BF-BDAB-470B-ABCB-C7CE5DBFFC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5490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1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3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13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3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sitting at a desk&#10;&#10;Description automatically generated">
            <a:extLst>
              <a:ext uri="{FF2B5EF4-FFF2-40B4-BE49-F238E27FC236}">
                <a16:creationId xmlns:a16="http://schemas.microsoft.com/office/drawing/2014/main" id="{7189D490-FB59-4FEF-8E99-F91C7E97C5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738" y="0"/>
            <a:ext cx="4183116" cy="6858000"/>
          </a:xfrm>
          <a:custGeom>
            <a:avLst/>
            <a:gdLst>
              <a:gd name="connsiteX0" fmla="*/ 0 w 4183116"/>
              <a:gd name="connsiteY0" fmla="*/ 0 h 6858000"/>
              <a:gd name="connsiteX1" fmla="*/ 4183116 w 4183116"/>
              <a:gd name="connsiteY1" fmla="*/ 0 h 6858000"/>
              <a:gd name="connsiteX2" fmla="*/ 4183116 w 4183116"/>
              <a:gd name="connsiteY2" fmla="*/ 6858000 h 6858000"/>
              <a:gd name="connsiteX3" fmla="*/ 0 w 418311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3116" h="6858000">
                <a:moveTo>
                  <a:pt x="0" y="0"/>
                </a:moveTo>
                <a:lnTo>
                  <a:pt x="4183116" y="0"/>
                </a:lnTo>
                <a:lnTo>
                  <a:pt x="418311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3CD481-D636-4C1F-8C0E-34345BA983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0658" y="2608454"/>
            <a:ext cx="7020642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059D6C-29D2-4FF9-A9C9-0F22ADB691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0658" y="5088129"/>
            <a:ext cx="7020642" cy="675059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9ACBB8-27E0-403E-B233-AB1E62520393}"/>
              </a:ext>
            </a:extLst>
          </p:cNvPr>
          <p:cNvGrpSpPr/>
          <p:nvPr userDrawn="1"/>
        </p:nvGrpSpPr>
        <p:grpSpPr>
          <a:xfrm>
            <a:off x="4650658" y="695697"/>
            <a:ext cx="7541342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4E7510A-5349-4DAB-B2A1-5693372E2531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6E18970-1453-435B-BE60-293F490C1049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5AFF5BC-CF81-4679-9C53-1F50CE22BC37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0CEDBB68-C37F-4D73-B245-61DD5AB04C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0017" y="963282"/>
            <a:ext cx="2578501" cy="80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096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id="{217CBA57-D844-4DB1-8553-71FE011A7F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3565003" cy="6858000"/>
          </a:xfrm>
          <a:custGeom>
            <a:avLst/>
            <a:gdLst>
              <a:gd name="connsiteX0" fmla="*/ 0 w 3565003"/>
              <a:gd name="connsiteY0" fmla="*/ 0 h 6858000"/>
              <a:gd name="connsiteX1" fmla="*/ 3565003 w 3565003"/>
              <a:gd name="connsiteY1" fmla="*/ 0 h 6858000"/>
              <a:gd name="connsiteX2" fmla="*/ 3565003 w 3565003"/>
              <a:gd name="connsiteY2" fmla="*/ 6858000 h 6858000"/>
              <a:gd name="connsiteX3" fmla="*/ 0 w 356500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65003" h="6858000">
                <a:moveTo>
                  <a:pt x="0" y="0"/>
                </a:moveTo>
                <a:lnTo>
                  <a:pt x="3565003" y="0"/>
                </a:lnTo>
                <a:lnTo>
                  <a:pt x="3565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3" name="Picture 12" descr="A group of people sitting on a couch&#10;&#10;Description automatically generated">
            <a:extLst>
              <a:ext uri="{FF2B5EF4-FFF2-40B4-BE49-F238E27FC236}">
                <a16:creationId xmlns:a16="http://schemas.microsoft.com/office/drawing/2014/main" id="{0BA80181-D8B5-4912-A7F1-BF3CE7D14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6997" y="0"/>
            <a:ext cx="3565003" cy="6858000"/>
          </a:xfrm>
          <a:custGeom>
            <a:avLst/>
            <a:gdLst>
              <a:gd name="connsiteX0" fmla="*/ 0 w 3565003"/>
              <a:gd name="connsiteY0" fmla="*/ 0 h 6858000"/>
              <a:gd name="connsiteX1" fmla="*/ 3565003 w 3565003"/>
              <a:gd name="connsiteY1" fmla="*/ 0 h 6858000"/>
              <a:gd name="connsiteX2" fmla="*/ 3565003 w 3565003"/>
              <a:gd name="connsiteY2" fmla="*/ 6858000 h 6858000"/>
              <a:gd name="connsiteX3" fmla="*/ 0 w 356500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65003" h="6858000">
                <a:moveTo>
                  <a:pt x="0" y="0"/>
                </a:moveTo>
                <a:lnTo>
                  <a:pt x="3565003" y="0"/>
                </a:lnTo>
                <a:lnTo>
                  <a:pt x="3565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56FEEE4-ED51-4BA2-8867-A4407444596E}"/>
              </a:ext>
            </a:extLst>
          </p:cNvPr>
          <p:cNvSpPr/>
          <p:nvPr userDrawn="1"/>
        </p:nvSpPr>
        <p:spPr>
          <a:xfrm>
            <a:off x="3635163" y="0"/>
            <a:ext cx="492167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6F7254-AEED-41EA-BB83-56A5B8FC45D2}"/>
              </a:ext>
            </a:extLst>
          </p:cNvPr>
          <p:cNvSpPr/>
          <p:nvPr userDrawn="1"/>
        </p:nvSpPr>
        <p:spPr>
          <a:xfrm>
            <a:off x="3823458" y="230710"/>
            <a:ext cx="4545083" cy="6396580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2243" y="2766219"/>
            <a:ext cx="4367514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6432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0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1101702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39" y="366742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3158515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2423555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39" y="2423555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521532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4480368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39" y="4480368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6619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0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918822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39" y="366742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2381471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1859871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39" y="1829391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3844120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3353000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39" y="3292040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3E43FB3-2EBA-4791-B594-E88CCB85DCA9}"/>
              </a:ext>
            </a:extLst>
          </p:cNvPr>
          <p:cNvSpPr/>
          <p:nvPr userDrawn="1"/>
        </p:nvSpPr>
        <p:spPr>
          <a:xfrm>
            <a:off x="6834811" y="539820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93EE02EF-6A78-4DEC-8483-625D2C69F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6492" y="4846128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6AEF5450-37B4-4024-832A-189D79D481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3939" y="4846128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08669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0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70393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39" y="366742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192497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1587782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39" y="1587782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3146581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2809385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39" y="2809385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3E43FB3-2EBA-4791-B594-E88CCB85DCA9}"/>
              </a:ext>
            </a:extLst>
          </p:cNvPr>
          <p:cNvSpPr/>
          <p:nvPr userDrawn="1"/>
        </p:nvSpPr>
        <p:spPr>
          <a:xfrm>
            <a:off x="6834811" y="4368184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93EE02EF-6A78-4DEC-8483-625D2C69F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6492" y="4030988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6AEF5450-37B4-4024-832A-189D79D481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3939" y="4030988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E3321D1-5029-426C-9A32-AA374EA66C88}"/>
              </a:ext>
            </a:extLst>
          </p:cNvPr>
          <p:cNvSpPr/>
          <p:nvPr userDrawn="1"/>
        </p:nvSpPr>
        <p:spPr>
          <a:xfrm>
            <a:off x="6834811" y="5589789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Text Placeholder 20">
            <a:extLst>
              <a:ext uri="{FF2B5EF4-FFF2-40B4-BE49-F238E27FC236}">
                <a16:creationId xmlns:a16="http://schemas.microsoft.com/office/drawing/2014/main" id="{289F8350-449C-4C2D-92FC-CE0CA86D50B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76492" y="5252593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5" name="Text Placeholder 20">
            <a:extLst>
              <a:ext uri="{FF2B5EF4-FFF2-40B4-BE49-F238E27FC236}">
                <a16:creationId xmlns:a16="http://schemas.microsoft.com/office/drawing/2014/main" id="{718DA6E2-EE68-4588-A685-3E29D616B2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3939" y="5252593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5547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2115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1337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559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1292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0514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230378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988822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1233832" y="1903602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0821307"/>
                <a:gd name="adj2" fmla="val 2126223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831770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5026052" y="1903602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F5666CA-82BB-49A0-91A3-0E479B28D92A}"/>
              </a:ext>
            </a:extLst>
          </p:cNvPr>
          <p:cNvGrpSpPr/>
          <p:nvPr userDrawn="1"/>
        </p:nvGrpSpPr>
        <p:grpSpPr>
          <a:xfrm>
            <a:off x="8818272" y="1903602"/>
            <a:ext cx="2139897" cy="2139897"/>
            <a:chOff x="8029619" y="1903602"/>
            <a:chExt cx="2139897" cy="2139897"/>
          </a:xfrm>
        </p:grpSpPr>
        <p:sp>
          <p:nvSpPr>
            <p:cNvPr id="57" name="Arc 56">
              <a:extLst>
                <a:ext uri="{FF2B5EF4-FFF2-40B4-BE49-F238E27FC236}">
                  <a16:creationId xmlns:a16="http://schemas.microsoft.com/office/drawing/2014/main" id="{A8EE1277-FE82-4822-A85D-B1B0E940EA07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11169507"/>
                <a:gd name="adj2" fmla="val 146547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A6455670-9200-4075-8FD1-258D64C3BC53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21586752"/>
                <a:gd name="adj2" fmla="val 10460422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1615458" y="2764340"/>
            <a:ext cx="3697154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3" name="Arrow: Right 8">
            <a:extLst>
              <a:ext uri="{FF2B5EF4-FFF2-40B4-BE49-F238E27FC236}">
                <a16:creationId xmlns:a16="http://schemas.microsoft.com/office/drawing/2014/main" id="{5A9335EB-FE49-4C21-A240-0BCAB52E2FBA}"/>
              </a:ext>
            </a:extLst>
          </p:cNvPr>
          <p:cNvSpPr/>
          <p:nvPr userDrawn="1"/>
        </p:nvSpPr>
        <p:spPr>
          <a:xfrm>
            <a:off x="5411033" y="2764340"/>
            <a:ext cx="3697154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308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0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8CD735-7E9B-475A-80E2-0530E4F646A2}"/>
              </a:ext>
            </a:extLst>
          </p:cNvPr>
          <p:cNvGrpSpPr/>
          <p:nvPr userDrawn="1"/>
        </p:nvGrpSpPr>
        <p:grpSpPr>
          <a:xfrm>
            <a:off x="520700" y="1903602"/>
            <a:ext cx="2139897" cy="2139897"/>
            <a:chOff x="520700" y="1903602"/>
            <a:chExt cx="2139897" cy="2139897"/>
          </a:xfrm>
        </p:grpSpPr>
        <p:sp>
          <p:nvSpPr>
            <p:cNvPr id="7" name="Arc 6">
              <a:extLst>
                <a:ext uri="{FF2B5EF4-FFF2-40B4-BE49-F238E27FC236}">
                  <a16:creationId xmlns:a16="http://schemas.microsoft.com/office/drawing/2014/main" id="{493DC188-5367-4EDC-9171-C6332D7031C4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10080820"/>
                <a:gd name="adj2" fmla="val 21286878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42EFB4E2-E6DC-481F-9CD7-B41C1C8C7626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373939"/>
                <a:gd name="adj2" fmla="val 9969063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3524268" y="1903602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1152410"/>
                <a:gd name="adj2" fmla="val 21262236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46315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6527836" y="1903602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3" y="1903602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3" y="1903602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1588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1515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24268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27836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3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4594216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759778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066800" y="2764340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4069080" y="2764340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2" name="Arrow: Right 8">
            <a:extLst>
              <a:ext uri="{FF2B5EF4-FFF2-40B4-BE49-F238E27FC236}">
                <a16:creationId xmlns:a16="http://schemas.microsoft.com/office/drawing/2014/main" id="{50D401B0-9438-4DA9-9487-79C8089E19A9}"/>
              </a:ext>
            </a:extLst>
          </p:cNvPr>
          <p:cNvSpPr/>
          <p:nvPr userDrawn="1"/>
        </p:nvSpPr>
        <p:spPr>
          <a:xfrm>
            <a:off x="7071360" y="2764340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39875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0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493DC188-5367-4EDC-9171-C6332D7031C4}"/>
              </a:ext>
            </a:extLst>
          </p:cNvPr>
          <p:cNvSpPr/>
          <p:nvPr userDrawn="1"/>
        </p:nvSpPr>
        <p:spPr>
          <a:xfrm>
            <a:off x="520700" y="1903602"/>
            <a:ext cx="2139897" cy="2139897"/>
          </a:xfrm>
          <a:prstGeom prst="arc">
            <a:avLst>
              <a:gd name="adj1" fmla="val 10080820"/>
              <a:gd name="adj2" fmla="val 21286878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42EFB4E2-E6DC-481F-9CD7-B41C1C8C7626}"/>
              </a:ext>
            </a:extLst>
          </p:cNvPr>
          <p:cNvSpPr/>
          <p:nvPr userDrawn="1"/>
        </p:nvSpPr>
        <p:spPr>
          <a:xfrm>
            <a:off x="520700" y="1903602"/>
            <a:ext cx="2139897" cy="2139897"/>
          </a:xfrm>
          <a:prstGeom prst="arc">
            <a:avLst>
              <a:gd name="adj1" fmla="val 373939"/>
              <a:gd name="adj2" fmla="val 9969063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350587" y="2764340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95B21021-F56D-4DE0-9556-7A88E088DE82}"/>
              </a:ext>
            </a:extLst>
          </p:cNvPr>
          <p:cNvSpPr/>
          <p:nvPr userDrawn="1"/>
        </p:nvSpPr>
        <p:spPr>
          <a:xfrm>
            <a:off x="2762225" y="1903602"/>
            <a:ext cx="2139897" cy="2139897"/>
          </a:xfrm>
          <a:prstGeom prst="arc">
            <a:avLst>
              <a:gd name="adj1" fmla="val 11152410"/>
              <a:gd name="adj2" fmla="val 21262236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FF2A0780-162E-4178-8D44-C087E927A225}"/>
              </a:ext>
            </a:extLst>
          </p:cNvPr>
          <p:cNvSpPr/>
          <p:nvPr userDrawn="1"/>
        </p:nvSpPr>
        <p:spPr>
          <a:xfrm>
            <a:off x="2762225" y="1903602"/>
            <a:ext cx="2139897" cy="2139897"/>
          </a:xfrm>
          <a:prstGeom prst="arc">
            <a:avLst>
              <a:gd name="adj1" fmla="val 350464"/>
              <a:gd name="adj2" fmla="val 10463156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/>
          </a:p>
        </p:txBody>
      </p:sp>
      <p:sp>
        <p:nvSpPr>
          <p:cNvPr id="41" name="Arrow: Right 8">
            <a:extLst>
              <a:ext uri="{FF2B5EF4-FFF2-40B4-BE49-F238E27FC236}">
                <a16:creationId xmlns:a16="http://schemas.microsoft.com/office/drawing/2014/main" id="{773A68BC-F081-4B3D-B7C7-F037E3A67F28}"/>
              </a:ext>
            </a:extLst>
          </p:cNvPr>
          <p:cNvSpPr/>
          <p:nvPr userDrawn="1"/>
        </p:nvSpPr>
        <p:spPr>
          <a:xfrm>
            <a:off x="3653037" y="2764340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5FA2D6F3-CF09-4BE0-994B-0318B344227F}"/>
              </a:ext>
            </a:extLst>
          </p:cNvPr>
          <p:cNvSpPr/>
          <p:nvPr userDrawn="1"/>
        </p:nvSpPr>
        <p:spPr>
          <a:xfrm>
            <a:off x="5003751" y="1903602"/>
            <a:ext cx="2139897" cy="2139897"/>
          </a:xfrm>
          <a:prstGeom prst="arc">
            <a:avLst>
              <a:gd name="adj1" fmla="val 11169507"/>
              <a:gd name="adj2" fmla="val 21304215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Arc 45">
            <a:extLst>
              <a:ext uri="{FF2B5EF4-FFF2-40B4-BE49-F238E27FC236}">
                <a16:creationId xmlns:a16="http://schemas.microsoft.com/office/drawing/2014/main" id="{9CBFA4DF-3824-4C0B-B38C-1ABCECDE4DB6}"/>
              </a:ext>
            </a:extLst>
          </p:cNvPr>
          <p:cNvSpPr/>
          <p:nvPr userDrawn="1"/>
        </p:nvSpPr>
        <p:spPr>
          <a:xfrm>
            <a:off x="5003751" y="1903602"/>
            <a:ext cx="2139897" cy="2139897"/>
          </a:xfrm>
          <a:prstGeom prst="arc">
            <a:avLst>
              <a:gd name="adj1" fmla="val 471098"/>
              <a:gd name="adj2" fmla="val 10441694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Arrow: Right 8">
            <a:extLst>
              <a:ext uri="{FF2B5EF4-FFF2-40B4-BE49-F238E27FC236}">
                <a16:creationId xmlns:a16="http://schemas.microsoft.com/office/drawing/2014/main" id="{BB6C3DB8-880F-4DB8-B2F6-337F583E62FE}"/>
              </a:ext>
            </a:extLst>
          </p:cNvPr>
          <p:cNvSpPr/>
          <p:nvPr userDrawn="1"/>
        </p:nvSpPr>
        <p:spPr>
          <a:xfrm>
            <a:off x="5856484" y="2764340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8" name="Arc 47">
            <a:extLst>
              <a:ext uri="{FF2B5EF4-FFF2-40B4-BE49-F238E27FC236}">
                <a16:creationId xmlns:a16="http://schemas.microsoft.com/office/drawing/2014/main" id="{D8A565E5-4ADC-46DD-A654-7BA94F97D916}"/>
              </a:ext>
            </a:extLst>
          </p:cNvPr>
          <p:cNvSpPr/>
          <p:nvPr userDrawn="1"/>
        </p:nvSpPr>
        <p:spPr>
          <a:xfrm>
            <a:off x="7245276" y="1903602"/>
            <a:ext cx="2139897" cy="2139897"/>
          </a:xfrm>
          <a:prstGeom prst="arc">
            <a:avLst>
              <a:gd name="adj1" fmla="val 11109170"/>
              <a:gd name="adj2" fmla="val 21204980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7CD4BCCD-EA8A-4382-B873-E1769F7F58B3}"/>
              </a:ext>
            </a:extLst>
          </p:cNvPr>
          <p:cNvSpPr/>
          <p:nvPr userDrawn="1"/>
        </p:nvSpPr>
        <p:spPr>
          <a:xfrm>
            <a:off x="7245276" y="1903602"/>
            <a:ext cx="2139897" cy="2139897"/>
          </a:xfrm>
          <a:prstGeom prst="arc">
            <a:avLst>
              <a:gd name="adj1" fmla="val 349057"/>
              <a:gd name="adj2" fmla="val 1044865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/>
          </a:p>
        </p:txBody>
      </p:sp>
      <p:sp>
        <p:nvSpPr>
          <p:cNvPr id="56" name="Arrow: Right 8">
            <a:extLst>
              <a:ext uri="{FF2B5EF4-FFF2-40B4-BE49-F238E27FC236}">
                <a16:creationId xmlns:a16="http://schemas.microsoft.com/office/drawing/2014/main" id="{9EBF435E-87F3-4EF4-B669-6035B3A1880E}"/>
              </a:ext>
            </a:extLst>
          </p:cNvPr>
          <p:cNvSpPr/>
          <p:nvPr userDrawn="1"/>
        </p:nvSpPr>
        <p:spPr>
          <a:xfrm>
            <a:off x="8136088" y="2764340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3" y="1903602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3" y="1903602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9545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071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667F4ED1-0A00-45A4-8E1F-9AFC0468DB9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3259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62225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3751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7878DBEA-7979-481E-9B73-D30CA615B6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45276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3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3832173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7369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82E0D59-139E-4EB9-9B08-B004BCD376D2}"/>
              </a:ext>
            </a:extLst>
          </p:cNvPr>
          <p:cNvCxnSpPr>
            <a:cxnSpLocks/>
          </p:cNvCxnSpPr>
          <p:nvPr userDrawn="1"/>
        </p:nvCxnSpPr>
        <p:spPr>
          <a:xfrm flipH="1">
            <a:off x="831522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82908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54692DDE-8E18-4393-BAA0-EEAF401094A3}"/>
              </a:ext>
            </a:extLst>
          </p:cNvPr>
          <p:cNvSpPr/>
          <p:nvPr userDrawn="1"/>
        </p:nvSpPr>
        <p:spPr>
          <a:xfrm>
            <a:off x="482194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428C0528-C3D0-4014-9B8E-4B2177F3290F}"/>
              </a:ext>
            </a:extLst>
          </p:cNvPr>
          <p:cNvSpPr/>
          <p:nvPr userDrawn="1"/>
        </p:nvSpPr>
        <p:spPr>
          <a:xfrm>
            <a:off x="1724288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ADD4E0DD-C593-47CC-9335-430F6B5E6C65}"/>
              </a:ext>
            </a:extLst>
          </p:cNvPr>
          <p:cNvSpPr/>
          <p:nvPr userDrawn="1"/>
        </p:nvSpPr>
        <p:spPr>
          <a:xfrm>
            <a:off x="2966382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38" name="Parallelogram 37">
            <a:extLst>
              <a:ext uri="{FF2B5EF4-FFF2-40B4-BE49-F238E27FC236}">
                <a16:creationId xmlns:a16="http://schemas.microsoft.com/office/drawing/2014/main" id="{7A87CE15-89C2-4758-A6EB-DBB50A2B133B}"/>
              </a:ext>
            </a:extLst>
          </p:cNvPr>
          <p:cNvSpPr/>
          <p:nvPr userDrawn="1"/>
        </p:nvSpPr>
        <p:spPr>
          <a:xfrm>
            <a:off x="4208476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40" name="Parallelogram 39">
            <a:extLst>
              <a:ext uri="{FF2B5EF4-FFF2-40B4-BE49-F238E27FC236}">
                <a16:creationId xmlns:a16="http://schemas.microsoft.com/office/drawing/2014/main" id="{47536C97-010F-4905-B90F-F3297AEF464F}"/>
              </a:ext>
            </a:extLst>
          </p:cNvPr>
          <p:cNvSpPr/>
          <p:nvPr userDrawn="1"/>
        </p:nvSpPr>
        <p:spPr>
          <a:xfrm>
            <a:off x="5450570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0BFAD1D6-B09A-40D8-AAAD-AB6D68EA9F4A}"/>
              </a:ext>
            </a:extLst>
          </p:cNvPr>
          <p:cNvSpPr/>
          <p:nvPr userDrawn="1"/>
        </p:nvSpPr>
        <p:spPr>
          <a:xfrm>
            <a:off x="6692664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A07A4C47-E0A6-4585-83AA-690D8B9D4973}"/>
              </a:ext>
            </a:extLst>
          </p:cNvPr>
          <p:cNvSpPr/>
          <p:nvPr userDrawn="1"/>
        </p:nvSpPr>
        <p:spPr>
          <a:xfrm>
            <a:off x="7934758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44" name="Parallelogram 43">
            <a:extLst>
              <a:ext uri="{FF2B5EF4-FFF2-40B4-BE49-F238E27FC236}">
                <a16:creationId xmlns:a16="http://schemas.microsoft.com/office/drawing/2014/main" id="{E8A95459-78A4-4D93-B6BF-FE8DE7321626}"/>
              </a:ext>
            </a:extLst>
          </p:cNvPr>
          <p:cNvSpPr/>
          <p:nvPr userDrawn="1"/>
        </p:nvSpPr>
        <p:spPr>
          <a:xfrm>
            <a:off x="9176852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80" name="Parallelogram 79">
            <a:extLst>
              <a:ext uri="{FF2B5EF4-FFF2-40B4-BE49-F238E27FC236}">
                <a16:creationId xmlns:a16="http://schemas.microsoft.com/office/drawing/2014/main" id="{73D0C8F0-5E5B-45B0-87E0-652B0F6AFA6F}"/>
              </a:ext>
            </a:extLst>
          </p:cNvPr>
          <p:cNvSpPr/>
          <p:nvPr userDrawn="1"/>
        </p:nvSpPr>
        <p:spPr>
          <a:xfrm>
            <a:off x="10418946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052B8FFD-4438-40D0-A9C6-C55C2B3D9FAB}"/>
              </a:ext>
            </a:extLst>
          </p:cNvPr>
          <p:cNvSpPr/>
          <p:nvPr userDrawn="1"/>
        </p:nvSpPr>
        <p:spPr>
          <a:xfrm>
            <a:off x="0" y="1874520"/>
            <a:ext cx="530964" cy="360680"/>
          </a:xfrm>
          <a:custGeom>
            <a:avLst/>
            <a:gdLst>
              <a:gd name="connsiteX0" fmla="*/ 0 w 530964"/>
              <a:gd name="connsiteY0" fmla="*/ 0 h 360680"/>
              <a:gd name="connsiteX1" fmla="*/ 530964 w 530964"/>
              <a:gd name="connsiteY1" fmla="*/ 0 h 360680"/>
              <a:gd name="connsiteX2" fmla="*/ 440794 w 530964"/>
              <a:gd name="connsiteY2" fmla="*/ 360680 h 360680"/>
              <a:gd name="connsiteX3" fmla="*/ 0 w 530964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4" h="360680">
                <a:moveTo>
                  <a:pt x="0" y="0"/>
                </a:moveTo>
                <a:lnTo>
                  <a:pt x="530964" y="0"/>
                </a:lnTo>
                <a:lnTo>
                  <a:pt x="440794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9F8236E-F46A-4EC3-B302-7A01BC6DEEC2}"/>
              </a:ext>
            </a:extLst>
          </p:cNvPr>
          <p:cNvSpPr/>
          <p:nvPr userDrawn="1"/>
        </p:nvSpPr>
        <p:spPr>
          <a:xfrm>
            <a:off x="11661036" y="1874520"/>
            <a:ext cx="530963" cy="360680"/>
          </a:xfrm>
          <a:custGeom>
            <a:avLst/>
            <a:gdLst>
              <a:gd name="connsiteX0" fmla="*/ 90170 w 530963"/>
              <a:gd name="connsiteY0" fmla="*/ 0 h 360680"/>
              <a:gd name="connsiteX1" fmla="*/ 530963 w 530963"/>
              <a:gd name="connsiteY1" fmla="*/ 0 h 360680"/>
              <a:gd name="connsiteX2" fmla="*/ 530963 w 530963"/>
              <a:gd name="connsiteY2" fmla="*/ 360680 h 360680"/>
              <a:gd name="connsiteX3" fmla="*/ 0 w 530963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3" h="360680">
                <a:moveTo>
                  <a:pt x="90170" y="0"/>
                </a:moveTo>
                <a:lnTo>
                  <a:pt x="530963" y="0"/>
                </a:lnTo>
                <a:lnTo>
                  <a:pt x="530963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3928" y="1874520"/>
            <a:ext cx="1087392" cy="360680"/>
          </a:xfrm>
          <a:noFill/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825652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067746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309840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4" name="Text Placeholder 11">
            <a:extLst>
              <a:ext uri="{FF2B5EF4-FFF2-40B4-BE49-F238E27FC236}">
                <a16:creationId xmlns:a16="http://schemas.microsoft.com/office/drawing/2014/main" id="{B1F59F6D-A456-4FB3-AF7C-6EEF30B07580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551934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5" name="Text Placeholder 11">
            <a:extLst>
              <a:ext uri="{FF2B5EF4-FFF2-40B4-BE49-F238E27FC236}">
                <a16:creationId xmlns:a16="http://schemas.microsoft.com/office/drawing/2014/main" id="{D3368D37-0BE1-4151-84D7-7E90FE4FA7F9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94028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DC8CE767-0D4B-477D-8748-DAB458F64A1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8036122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4550DA06-2D1B-40D3-9AC0-5C6B7AE2F8D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9278216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4D64A8-C48C-4BA2-B4EB-EC1395CFBFAF}"/>
              </a:ext>
            </a:extLst>
          </p:cNvPr>
          <p:cNvCxnSpPr/>
          <p:nvPr userDrawn="1"/>
        </p:nvCxnSpPr>
        <p:spPr>
          <a:xfrm>
            <a:off x="0" y="2664459"/>
            <a:ext cx="12192000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Placeholder 11">
            <a:extLst>
              <a:ext uri="{FF2B5EF4-FFF2-40B4-BE49-F238E27FC236}">
                <a16:creationId xmlns:a16="http://schemas.microsoft.com/office/drawing/2014/main" id="{9B6B2DA0-674F-4876-B749-F9F6654ED6C9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851735" y="2556736"/>
            <a:ext cx="488532" cy="215444"/>
          </a:xfrm>
          <a:solidFill>
            <a:schemeClr val="bg1"/>
          </a:solidFill>
        </p:spPr>
        <p:txBody>
          <a:bodyPr wrap="none" lIns="91440" tIns="0" rIns="9144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829299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8040" y="5831521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81" name="Text Placeholder 11">
            <a:extLst>
              <a:ext uri="{FF2B5EF4-FFF2-40B4-BE49-F238E27FC236}">
                <a16:creationId xmlns:a16="http://schemas.microsoft.com/office/drawing/2014/main" id="{3E4FB6FC-3D8B-482F-B69D-5BA27682D1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20310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8142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700" y="2270326"/>
            <a:ext cx="265176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647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594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19540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422067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040" y="5424289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2F65CE9-0AA8-46E3-9C61-A205142A6B66}"/>
              </a:ext>
            </a:extLst>
          </p:cNvPr>
          <p:cNvSpPr/>
          <p:nvPr userDrawn="1"/>
        </p:nvSpPr>
        <p:spPr>
          <a:xfrm>
            <a:off x="0" y="1827242"/>
            <a:ext cx="12192000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B5D48AC6-4A34-4392-BB8B-0A53D8A0A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040" y="1829464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375962-7421-4021-BF93-21883DD0AFBE}"/>
              </a:ext>
            </a:extLst>
          </p:cNvPr>
          <p:cNvCxnSpPr>
            <a:cxnSpLocks/>
          </p:cNvCxnSpPr>
          <p:nvPr userDrawn="1"/>
        </p:nvCxnSpPr>
        <p:spPr>
          <a:xfrm flipH="1">
            <a:off x="3263053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0BC7B37-994C-4F34-B4C9-527F7EC20F71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1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CFF737B-1B1B-4795-8DC7-391F3B183589}"/>
              </a:ext>
            </a:extLst>
          </p:cNvPr>
          <p:cNvCxnSpPr>
            <a:cxnSpLocks/>
          </p:cNvCxnSpPr>
          <p:nvPr userDrawn="1"/>
        </p:nvCxnSpPr>
        <p:spPr>
          <a:xfrm flipH="1">
            <a:off x="8928947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AE791AEA-40AD-411F-8591-00BF36D5A2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699" y="5833745"/>
            <a:ext cx="365760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3EFC4851-E58D-4481-885F-454D4A8165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199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47078168-E22A-48A7-98DF-B7057442E1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13700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CF50D3-C5E2-424E-B217-9CF96B84995D}"/>
              </a:ext>
            </a:extLst>
          </p:cNvPr>
          <p:cNvCxnSpPr>
            <a:cxnSpLocks/>
          </p:cNvCxnSpPr>
          <p:nvPr userDrawn="1"/>
        </p:nvCxnSpPr>
        <p:spPr>
          <a:xfrm flipH="1">
            <a:off x="42227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A75C15F-35F4-4557-AFF3-406399507C7F}"/>
              </a:ext>
            </a:extLst>
          </p:cNvPr>
          <p:cNvCxnSpPr>
            <a:cxnSpLocks/>
          </p:cNvCxnSpPr>
          <p:nvPr userDrawn="1"/>
        </p:nvCxnSpPr>
        <p:spPr>
          <a:xfrm flipH="1">
            <a:off x="79692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B546578-8DE0-49E5-A215-70BB0C4129A2}"/>
              </a:ext>
            </a:extLst>
          </p:cNvPr>
          <p:cNvCxnSpPr>
            <a:cxnSpLocks/>
          </p:cNvCxnSpPr>
          <p:nvPr userDrawn="1"/>
        </p:nvCxnSpPr>
        <p:spPr>
          <a:xfrm>
            <a:off x="0" y="2970503"/>
            <a:ext cx="12192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D566B3A0-A6A9-4D90-B478-8D539D26E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070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E7D11FB8-7971-437B-9EA2-4A5637C164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2559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EA292649-C878-45CC-9616-C0FF6D1E37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048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63EDEFD3-B7F5-4C8B-862E-BD72843F14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3537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70B46E1D-E215-462A-B948-40BC98D9A5C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026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6CF0F45F-628F-41D2-BE24-13E38FEA66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45148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A05FFC-CB67-4DDE-B277-82EAA05C4494}"/>
              </a:ext>
            </a:extLst>
          </p:cNvPr>
          <p:cNvCxnSpPr>
            <a:cxnSpLocks/>
          </p:cNvCxnSpPr>
          <p:nvPr userDrawn="1"/>
        </p:nvCxnSpPr>
        <p:spPr>
          <a:xfrm>
            <a:off x="2286221" y="3150843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F1926D0-A727-4D31-8824-A6284B1A03D8}"/>
              </a:ext>
            </a:extLst>
          </p:cNvPr>
          <p:cNvCxnSpPr>
            <a:cxnSpLocks/>
          </p:cNvCxnSpPr>
          <p:nvPr userDrawn="1"/>
        </p:nvCxnSpPr>
        <p:spPr>
          <a:xfrm>
            <a:off x="4191111" y="3150843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00C79E0-99CE-4048-AFDA-ECE8092FA33E}"/>
              </a:ext>
            </a:extLst>
          </p:cNvPr>
          <p:cNvCxnSpPr>
            <a:cxnSpLocks/>
          </p:cNvCxnSpPr>
          <p:nvPr userDrawn="1"/>
        </p:nvCxnSpPr>
        <p:spPr>
          <a:xfrm>
            <a:off x="6096001" y="3150843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619DDB3-9A57-4903-868F-D7C98470EEC5}"/>
              </a:ext>
            </a:extLst>
          </p:cNvPr>
          <p:cNvCxnSpPr>
            <a:cxnSpLocks/>
          </p:cNvCxnSpPr>
          <p:nvPr userDrawn="1"/>
        </p:nvCxnSpPr>
        <p:spPr>
          <a:xfrm>
            <a:off x="8000891" y="3150843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178D462-B5D3-4695-AAF1-8556BCD25D16}"/>
              </a:ext>
            </a:extLst>
          </p:cNvPr>
          <p:cNvCxnSpPr>
            <a:cxnSpLocks/>
          </p:cNvCxnSpPr>
          <p:nvPr userDrawn="1"/>
        </p:nvCxnSpPr>
        <p:spPr>
          <a:xfrm>
            <a:off x="9905780" y="3150843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8FDEF4-043D-41E9-9137-4C93C43CB8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7525" y="3340100"/>
            <a:ext cx="1627188" cy="1917700"/>
          </a:xfrm>
        </p:spPr>
        <p:txBody>
          <a:bodyPr tIns="0" bIns="0">
            <a:noAutofit/>
          </a:bodyPr>
          <a:lstStyle>
            <a:lvl1pPr marL="115888" indent="-115888">
              <a:defRPr sz="1200"/>
            </a:lvl1pPr>
            <a:lvl2pPr marL="285750" indent="-114300">
              <a:defRPr sz="1100"/>
            </a:lvl2pPr>
            <a:lvl3pPr marL="401638" indent="-117475">
              <a:defRPr sz="1050"/>
            </a:lvl3pPr>
            <a:lvl4pPr marL="573088" indent="-112713">
              <a:defRPr sz="1000"/>
            </a:lvl4pPr>
            <a:lvl5pPr marL="742950" indent="-11271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14F185F6-398C-446E-BBEE-7E0A66FB4BA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24554" y="3340100"/>
            <a:ext cx="1627188" cy="1917700"/>
          </a:xfrm>
        </p:spPr>
        <p:txBody>
          <a:bodyPr tIns="0" bIns="0">
            <a:noAutofit/>
          </a:bodyPr>
          <a:lstStyle>
            <a:lvl1pPr marL="115888" indent="-115888">
              <a:defRPr sz="1200"/>
            </a:lvl1pPr>
            <a:lvl2pPr marL="285750" indent="-114300">
              <a:defRPr sz="1100"/>
            </a:lvl2pPr>
            <a:lvl3pPr marL="401638" indent="-117475">
              <a:defRPr sz="1050"/>
            </a:lvl3pPr>
            <a:lvl4pPr marL="573088" indent="-112713">
              <a:defRPr sz="1000"/>
            </a:lvl4pPr>
            <a:lvl5pPr marL="742950" indent="-11271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ED56AE80-3C7D-43A2-9A7D-85200B3081D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329444" y="3340100"/>
            <a:ext cx="1627188" cy="1917700"/>
          </a:xfrm>
        </p:spPr>
        <p:txBody>
          <a:bodyPr tIns="0" bIns="0">
            <a:noAutofit/>
          </a:bodyPr>
          <a:lstStyle>
            <a:lvl1pPr marL="115888" indent="-115888">
              <a:defRPr sz="1200"/>
            </a:lvl1pPr>
            <a:lvl2pPr marL="285750" indent="-114300">
              <a:defRPr sz="1100"/>
            </a:lvl2pPr>
            <a:lvl3pPr marL="401638" indent="-117475">
              <a:defRPr sz="1050"/>
            </a:lvl3pPr>
            <a:lvl4pPr marL="573088" indent="-112713">
              <a:defRPr sz="1000"/>
            </a:lvl4pPr>
            <a:lvl5pPr marL="742950" indent="-11271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CBEC6DB8-8161-4D2E-8CDD-337081A298B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34334" y="3340100"/>
            <a:ext cx="1627188" cy="1917700"/>
          </a:xfrm>
        </p:spPr>
        <p:txBody>
          <a:bodyPr tIns="0" bIns="0">
            <a:noAutofit/>
          </a:bodyPr>
          <a:lstStyle>
            <a:lvl1pPr marL="115888" indent="-115888">
              <a:defRPr sz="1200"/>
            </a:lvl1pPr>
            <a:lvl2pPr marL="285750" indent="-114300">
              <a:defRPr sz="1100"/>
            </a:lvl2pPr>
            <a:lvl3pPr marL="401638" indent="-117475">
              <a:defRPr sz="1050"/>
            </a:lvl3pPr>
            <a:lvl4pPr marL="573088" indent="-112713">
              <a:defRPr sz="1000"/>
            </a:lvl4pPr>
            <a:lvl5pPr marL="742950" indent="-11271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BD6F564F-58A5-405A-A76F-6928617870D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39224" y="3340100"/>
            <a:ext cx="1627188" cy="1917700"/>
          </a:xfrm>
        </p:spPr>
        <p:txBody>
          <a:bodyPr tIns="0" bIns="0">
            <a:noAutofit/>
          </a:bodyPr>
          <a:lstStyle>
            <a:lvl1pPr marL="115888" indent="-115888">
              <a:defRPr sz="1200"/>
            </a:lvl1pPr>
            <a:lvl2pPr marL="285750" indent="-114300">
              <a:defRPr sz="1100"/>
            </a:lvl2pPr>
            <a:lvl3pPr marL="401638" indent="-117475">
              <a:defRPr sz="1050"/>
            </a:lvl3pPr>
            <a:lvl4pPr marL="573088" indent="-112713">
              <a:defRPr sz="1000"/>
            </a:lvl4pPr>
            <a:lvl5pPr marL="742950" indent="-11271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86F62A9C-4A83-4663-A752-B95A698A88E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044112" y="3340100"/>
            <a:ext cx="1627188" cy="1917700"/>
          </a:xfrm>
        </p:spPr>
        <p:txBody>
          <a:bodyPr tIns="0" bIns="0">
            <a:noAutofit/>
          </a:bodyPr>
          <a:lstStyle>
            <a:lvl1pPr marL="115888" indent="-115888">
              <a:defRPr sz="1200"/>
            </a:lvl1pPr>
            <a:lvl2pPr marL="285750" indent="-114300">
              <a:defRPr sz="1100"/>
            </a:lvl2pPr>
            <a:lvl3pPr marL="401638" indent="-117475">
              <a:defRPr sz="1050"/>
            </a:lvl3pPr>
            <a:lvl4pPr marL="573088" indent="-112713">
              <a:defRPr sz="1000"/>
            </a:lvl4pPr>
            <a:lvl5pPr marL="742950" indent="-11271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7729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63373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C3C6A15-1E0F-435C-9F8D-D33A503BEF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64729" y="0"/>
            <a:ext cx="4801467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25923D1-16AF-4D35-9545-20F311021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0" y="6356350"/>
            <a:ext cx="627380" cy="365125"/>
          </a:xfr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9F8B0E-60EF-4612-8299-9B64C43A7B8F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1DA7B5-586D-487B-90B1-E0D23111B7E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A4FDF0-6D38-4AFF-AD4D-029375BDB96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5F6F31-48DF-4976-B60D-70E84125998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18323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27B63C0F-8F33-446C-8952-7FE888965D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AF2D8AF-E4BA-4E07-A0CD-8A1C15C79D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33000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3CD481-D636-4C1F-8C0E-34345BA983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0658" y="1784895"/>
            <a:ext cx="7020642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059D6C-29D2-4FF9-A9C9-0F22ADB691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0658" y="4264570"/>
            <a:ext cx="7020642" cy="675059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EDBB68-C37F-4D73-B245-61DD5AB04C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3397" y="5948943"/>
            <a:ext cx="1607903" cy="50297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DB9ACBB8-27E0-403E-B233-AB1E62520393}"/>
              </a:ext>
            </a:extLst>
          </p:cNvPr>
          <p:cNvGrpSpPr/>
          <p:nvPr userDrawn="1"/>
        </p:nvGrpSpPr>
        <p:grpSpPr>
          <a:xfrm>
            <a:off x="4650658" y="1242825"/>
            <a:ext cx="7541342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4E7510A-5349-4DAB-B2A1-5693372E2531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6E18970-1453-435B-BE60-293F490C1049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5AFF5BC-CF81-4679-9C53-1F50CE22BC37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451F11A-AC8B-45E8-9862-3E634CCD7B76}"/>
              </a:ext>
            </a:extLst>
          </p:cNvPr>
          <p:cNvGrpSpPr/>
          <p:nvPr userDrawn="1"/>
        </p:nvGrpSpPr>
        <p:grpSpPr>
          <a:xfrm>
            <a:off x="4650658" y="5542023"/>
            <a:ext cx="7541342" cy="73152"/>
            <a:chOff x="85490" y="5421819"/>
            <a:chExt cx="9411633" cy="29550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03D290-6CD8-4DC9-98F3-1607A110BD6C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67DFD31-699C-4FD4-B33F-A6E1FD5ED14B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489410C-1931-489D-8ACD-29268E9A853F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11317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63373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C3C6A15-1E0F-435C-9F8D-D33A503BEF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64729" y="0"/>
            <a:ext cx="4801467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25923D1-16AF-4D35-9545-20F311021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0" y="6356350"/>
            <a:ext cx="627380" cy="365125"/>
          </a:xfr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9F8B0E-60EF-4612-8299-9B64C43A7B8F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1DA7B5-586D-487B-90B1-E0D23111B7E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A4FDF0-6D38-4AFF-AD4D-029375BDB96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5F6F31-48DF-4976-B60D-70E84125998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19EF6A-522C-4192-B1E4-F3DD0D83B5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0700" y="1831693"/>
            <a:ext cx="6337300" cy="4362732"/>
          </a:xfrm>
        </p:spPr>
        <p:txBody>
          <a:bodyPr/>
          <a:lstStyle>
            <a:lvl1pPr marL="285750" indent="-285750">
              <a:defRPr/>
            </a:lvl1pPr>
            <a:lvl2pPr marL="796925" indent="-339725">
              <a:buFont typeface="Calibri" panose="020F0502020204030204" pitchFamily="34" charset="0"/>
              <a:buChar char="–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Calibri" panose="020F050202020403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81079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6F9F4D2F-0DB0-45EC-9C92-972C53BA08C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7575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E936245-F3C0-4A86-AADB-647161A4C1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81885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7" name="Picture Placeholder 24">
            <a:extLst>
              <a:ext uri="{FF2B5EF4-FFF2-40B4-BE49-F238E27FC236}">
                <a16:creationId xmlns:a16="http://schemas.microsoft.com/office/drawing/2014/main" id="{5648AE04-1998-4E1B-86AE-E25EDC82F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13080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BFF312B1-46AA-46C7-A5D7-7B71CD37B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444277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2ED87D5-800D-4CDE-B1E5-3B3CD05FD5E3}"/>
              </a:ext>
            </a:extLst>
          </p:cNvPr>
          <p:cNvGrpSpPr/>
          <p:nvPr/>
        </p:nvGrpSpPr>
        <p:grpSpPr>
          <a:xfrm>
            <a:off x="771216" y="1602200"/>
            <a:ext cx="2155981" cy="1630582"/>
            <a:chOff x="520700" y="1690687"/>
            <a:chExt cx="2657013" cy="1865377"/>
          </a:xfrm>
        </p:grpSpPr>
        <p:sp>
          <p:nvSpPr>
            <p:cNvPr id="8" name="Rectangle 15">
              <a:extLst>
                <a:ext uri="{FF2B5EF4-FFF2-40B4-BE49-F238E27FC236}">
                  <a16:creationId xmlns:a16="http://schemas.microsoft.com/office/drawing/2014/main" id="{E0A4B861-3CCD-479F-A769-C7581BF17FC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2E040F5E-E51C-48F0-89AF-FB0634336195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2293EE-99A5-480A-BE50-9C50E3795B75}"/>
              </a:ext>
            </a:extLst>
          </p:cNvPr>
          <p:cNvGrpSpPr/>
          <p:nvPr/>
        </p:nvGrpSpPr>
        <p:grpSpPr>
          <a:xfrm>
            <a:off x="3602411" y="1602200"/>
            <a:ext cx="2155981" cy="1630582"/>
            <a:chOff x="520700" y="1690687"/>
            <a:chExt cx="2657013" cy="1865377"/>
          </a:xfrm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42809CFB-A1DA-40ED-BEEF-ED6364AB7B2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14AE877E-70B3-46C5-A8B9-92556B7B102D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71D827-4F9A-4E2F-9FB5-20786D313B02}"/>
              </a:ext>
            </a:extLst>
          </p:cNvPr>
          <p:cNvGrpSpPr/>
          <p:nvPr/>
        </p:nvGrpSpPr>
        <p:grpSpPr>
          <a:xfrm>
            <a:off x="6433606" y="1602200"/>
            <a:ext cx="2155981" cy="1630582"/>
            <a:chOff x="520700" y="1690687"/>
            <a:chExt cx="2657013" cy="1865377"/>
          </a:xfrm>
        </p:grpSpPr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899B92F3-B50D-447E-A143-74B1F2309F7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A1B448A3-F3AE-42B0-891E-DD57BD4F3737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246F6B0-C8C2-4835-A97C-50106DFE8AE5}"/>
              </a:ext>
            </a:extLst>
          </p:cNvPr>
          <p:cNvGrpSpPr/>
          <p:nvPr/>
        </p:nvGrpSpPr>
        <p:grpSpPr>
          <a:xfrm>
            <a:off x="9264803" y="1602200"/>
            <a:ext cx="2155981" cy="1630582"/>
            <a:chOff x="520700" y="1690687"/>
            <a:chExt cx="2657013" cy="1865377"/>
          </a:xfrm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5849724A-F06C-4F30-9A4B-C11A5A2A63B8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2F57ED01-7FB0-4F1A-8FD5-BA9000DB7011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61417F7-7F2D-41F7-B366-81B40E84E6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699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1BFAED8F-DA3D-4FA6-8BEE-76ACAFDFA0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1895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339FFE38-8122-4C03-86CF-A68A617233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3090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6" name="Text Placeholder 31">
            <a:extLst>
              <a:ext uri="{FF2B5EF4-FFF2-40B4-BE49-F238E27FC236}">
                <a16:creationId xmlns:a16="http://schemas.microsoft.com/office/drawing/2014/main" id="{DB25D3D9-0793-4B7A-809C-F3BCEB6C5F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4287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7" name="Picture Placeholder 24">
            <a:extLst>
              <a:ext uri="{FF2B5EF4-FFF2-40B4-BE49-F238E27FC236}">
                <a16:creationId xmlns:a16="http://schemas.microsoft.com/office/drawing/2014/main" id="{59D01AD3-CF5A-4E3A-BAA9-1C4E15A3362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44905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38" name="Picture Placeholder 24">
            <a:extLst>
              <a:ext uri="{FF2B5EF4-FFF2-40B4-BE49-F238E27FC236}">
                <a16:creationId xmlns:a16="http://schemas.microsoft.com/office/drawing/2014/main" id="{D2218851-AB69-4A3D-A5E6-8B5A1B6E2FC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79215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07ADD67E-2BCA-4467-9350-D5BD292F40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10410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9CC4A5D-E51B-4F0A-AF14-DF3F7D8ED6F5}"/>
              </a:ext>
            </a:extLst>
          </p:cNvPr>
          <p:cNvGrpSpPr/>
          <p:nvPr userDrawn="1"/>
        </p:nvGrpSpPr>
        <p:grpSpPr>
          <a:xfrm>
            <a:off x="2168546" y="4188084"/>
            <a:ext cx="2155981" cy="1630582"/>
            <a:chOff x="520700" y="1690687"/>
            <a:chExt cx="2657013" cy="1865377"/>
          </a:xfrm>
        </p:grpSpPr>
        <p:sp>
          <p:nvSpPr>
            <p:cNvPr id="41" name="Rectangle 15">
              <a:extLst>
                <a:ext uri="{FF2B5EF4-FFF2-40B4-BE49-F238E27FC236}">
                  <a16:creationId xmlns:a16="http://schemas.microsoft.com/office/drawing/2014/main" id="{8DBBE19E-9085-42FD-A20C-38055745A59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89910649-E926-4150-95CD-E41CBF06DB22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E9C124D-2629-4D7A-BDC8-07D79018580D}"/>
              </a:ext>
            </a:extLst>
          </p:cNvPr>
          <p:cNvGrpSpPr/>
          <p:nvPr userDrawn="1"/>
        </p:nvGrpSpPr>
        <p:grpSpPr>
          <a:xfrm>
            <a:off x="4999741" y="4188084"/>
            <a:ext cx="2155981" cy="1630582"/>
            <a:chOff x="520700" y="1690687"/>
            <a:chExt cx="2657013" cy="1865377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F427AD74-C579-47AA-80EC-31564E4C3046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D7996EEB-67F5-4DE6-B249-F28D83B3F360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6330D16-C3DF-4899-905F-ED22086E3351}"/>
              </a:ext>
            </a:extLst>
          </p:cNvPr>
          <p:cNvGrpSpPr/>
          <p:nvPr userDrawn="1"/>
        </p:nvGrpSpPr>
        <p:grpSpPr>
          <a:xfrm>
            <a:off x="7830936" y="4188084"/>
            <a:ext cx="2155981" cy="1630582"/>
            <a:chOff x="520700" y="1690687"/>
            <a:chExt cx="2657013" cy="1865377"/>
          </a:xfrm>
        </p:grpSpPr>
        <p:sp>
          <p:nvSpPr>
            <p:cNvPr id="47" name="Rectangle 15">
              <a:extLst>
                <a:ext uri="{FF2B5EF4-FFF2-40B4-BE49-F238E27FC236}">
                  <a16:creationId xmlns:a16="http://schemas.microsoft.com/office/drawing/2014/main" id="{B55D964B-14DE-4C1C-8035-83F0F2EF90B5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74820E22-A28F-4F02-94A3-58931C9B787E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F0A40111-168F-4497-886A-FB51AFA39F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18029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7A7B9E0D-2603-4032-A23C-36F8D1FC23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9225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1" name="Text Placeholder 31">
            <a:extLst>
              <a:ext uri="{FF2B5EF4-FFF2-40B4-BE49-F238E27FC236}">
                <a16:creationId xmlns:a16="http://schemas.microsoft.com/office/drawing/2014/main" id="{4C44BDD6-182F-46E4-93FC-43941C6FCC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80420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2" name="Text Placeholder 31">
            <a:extLst>
              <a:ext uri="{FF2B5EF4-FFF2-40B4-BE49-F238E27FC236}">
                <a16:creationId xmlns:a16="http://schemas.microsoft.com/office/drawing/2014/main" id="{146B9903-E3C6-4472-8F80-F74BCF75A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699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8EF8F0D2-C983-41EC-98A0-2FC61FA6B3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51895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00DA53C4-87E6-4E15-8B37-7FD9DF2E8C1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090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5" name="Text Placeholder 31">
            <a:extLst>
              <a:ext uri="{FF2B5EF4-FFF2-40B4-BE49-F238E27FC236}">
                <a16:creationId xmlns:a16="http://schemas.microsoft.com/office/drawing/2014/main" id="{D99748A6-B121-4D68-BCD6-3164577AC3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14287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6" name="Text Placeholder 31">
            <a:extLst>
              <a:ext uri="{FF2B5EF4-FFF2-40B4-BE49-F238E27FC236}">
                <a16:creationId xmlns:a16="http://schemas.microsoft.com/office/drawing/2014/main" id="{B4EBA471-8F08-4F64-ACEE-D1DD5942606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18029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6403B303-FB7E-4805-8214-6B05AC1F77A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49225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8" name="Text Placeholder 31">
            <a:extLst>
              <a:ext uri="{FF2B5EF4-FFF2-40B4-BE49-F238E27FC236}">
                <a16:creationId xmlns:a16="http://schemas.microsoft.com/office/drawing/2014/main" id="{49AAEA83-A2B2-4238-907F-0090DF30C2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0420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83E98E6-2646-4A01-82E8-281A91F1A4C3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6172C09-3F85-45A0-989F-846F05F5756D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5299EAE-B503-41BB-AEFE-1B65262CD1AB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28E97010-C635-4BA9-9069-E49D0C60FA17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17220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ext Placeholder 25">
            <a:extLst>
              <a:ext uri="{FF2B5EF4-FFF2-40B4-BE49-F238E27FC236}">
                <a16:creationId xmlns:a16="http://schemas.microsoft.com/office/drawing/2014/main" id="{8E877D32-1C8D-4ED9-9853-17CE9964CE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0802" y="1932011"/>
            <a:ext cx="5218686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A96D735-7D86-4D11-9300-BADFF1111D9B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4BE2553-5B47-43D0-8C34-FA22B9AAA9F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436509B-9F6D-4856-BA86-5B3E12ABEA3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B2593B5-913C-46CF-98CB-2ECA90F70B5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A44ED3E-1620-40F9-B1FD-8D35BC8FF9F3}"/>
              </a:ext>
            </a:extLst>
          </p:cNvPr>
          <p:cNvGrpSpPr/>
          <p:nvPr userDrawn="1"/>
        </p:nvGrpSpPr>
        <p:grpSpPr>
          <a:xfrm>
            <a:off x="520700" y="1852613"/>
            <a:ext cx="5358891" cy="796401"/>
            <a:chOff x="520700" y="2028080"/>
            <a:chExt cx="5358891" cy="620934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988F8592-B6BC-4ACA-B9D6-C3ACA11BE448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35" name="Rectangle 15">
              <a:extLst>
                <a:ext uri="{FF2B5EF4-FFF2-40B4-BE49-F238E27FC236}">
                  <a16:creationId xmlns:a16="http://schemas.microsoft.com/office/drawing/2014/main" id="{AFB07A28-B1EE-4131-82CB-9A693F4A7A73}"/>
                </a:ext>
              </a:extLst>
            </p:cNvPr>
            <p:cNvSpPr/>
            <p:nvPr userDrawn="1"/>
          </p:nvSpPr>
          <p:spPr>
            <a:xfrm flipH="1">
              <a:off x="5769101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E155A1-548F-4705-AFD6-554DEC324A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0" y="2727960"/>
            <a:ext cx="5359400" cy="3466465"/>
          </a:xfrm>
        </p:spPr>
        <p:txBody>
          <a:bodyPr>
            <a:normAutofit/>
          </a:bodyPr>
          <a:lstStyle>
            <a:lvl1pPr marL="1730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3A6ACE54-1E10-4C07-AD13-F01EF15BE5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2156" y="2727960"/>
            <a:ext cx="5359400" cy="3466465"/>
          </a:xfrm>
        </p:spPr>
        <p:txBody>
          <a:bodyPr>
            <a:normAutofit/>
          </a:bodyPr>
          <a:lstStyle>
            <a:lvl1pPr marL="1730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1pPr>
            <a:lvl2pPr marL="685800" indent="-22860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Second level</a:t>
            </a:r>
          </a:p>
          <a:p>
            <a:pPr marL="1143000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1600200" lvl="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Fourth level</a:t>
            </a:r>
          </a:p>
          <a:p>
            <a:pPr marL="2057400" lvl="4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0DC07DBC-9C67-4B8E-93BA-49DC6027A1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2511" y="1932011"/>
            <a:ext cx="5218686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F92DB0C-9F77-4238-B7D3-16E53DE91EF6}"/>
              </a:ext>
            </a:extLst>
          </p:cNvPr>
          <p:cNvGrpSpPr/>
          <p:nvPr userDrawn="1"/>
        </p:nvGrpSpPr>
        <p:grpSpPr>
          <a:xfrm>
            <a:off x="6312409" y="1852613"/>
            <a:ext cx="5358891" cy="796401"/>
            <a:chOff x="6312409" y="2028080"/>
            <a:chExt cx="5358891" cy="620934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A202863A-F0F4-4F9F-ABC5-01F0A85EC7CE}"/>
                </a:ext>
              </a:extLst>
            </p:cNvPr>
            <p:cNvSpPr/>
            <p:nvPr userDrawn="1"/>
          </p:nvSpPr>
          <p:spPr>
            <a:xfrm>
              <a:off x="6312409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31E9A594-FDA0-4799-AA52-E6566D671DA7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E936870-D418-4E1D-825D-ED7BCE686EB1}"/>
              </a:ext>
            </a:extLst>
          </p:cNvPr>
          <p:cNvCxnSpPr/>
          <p:nvPr userDrawn="1"/>
        </p:nvCxnSpPr>
        <p:spPr>
          <a:xfrm>
            <a:off x="6096001" y="2727960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7255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0" y="6356350"/>
            <a:ext cx="627380" cy="365125"/>
          </a:xfr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A96D735-7D86-4D11-9300-BADFF1111D9B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4BE2553-5B47-43D0-8C34-FA22B9AAA9F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436509B-9F6D-4856-BA86-5B3E12ABEA3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B2593B5-913C-46CF-98CB-2ECA90F70B5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F058CEC-AFF0-443C-B251-E893B13CD9D9}"/>
              </a:ext>
            </a:extLst>
          </p:cNvPr>
          <p:cNvGrpSpPr/>
          <p:nvPr userDrawn="1"/>
        </p:nvGrpSpPr>
        <p:grpSpPr>
          <a:xfrm>
            <a:off x="520700" y="1852613"/>
            <a:ext cx="2505095" cy="796401"/>
            <a:chOff x="520700" y="2028080"/>
            <a:chExt cx="2505095" cy="620934"/>
          </a:xfrm>
        </p:grpSpPr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BD0C3CC0-C463-4A23-8DA2-03FC7700E163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92628147-F44A-4067-B9DC-DA1F7840121F}"/>
                </a:ext>
              </a:extLst>
            </p:cNvPr>
            <p:cNvSpPr/>
            <p:nvPr userDrawn="1"/>
          </p:nvSpPr>
          <p:spPr>
            <a:xfrm flipH="1">
              <a:off x="29153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E461AF6-0198-4CEE-A53C-3075A307522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0" y="2727960"/>
            <a:ext cx="2505095" cy="3466465"/>
          </a:xfrm>
        </p:spPr>
        <p:txBody>
          <a:bodyPr>
            <a:normAutofit/>
          </a:bodyPr>
          <a:lstStyle>
            <a:lvl1pPr marL="1730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B46E48E8-214F-4501-8F4E-061E87E725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0934" y="1932011"/>
            <a:ext cx="2368296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8681A48D-58A1-437D-AD36-772F1BBF58D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02535" y="2727960"/>
            <a:ext cx="2505095" cy="3466465"/>
          </a:xfrm>
        </p:spPr>
        <p:txBody>
          <a:bodyPr>
            <a:normAutofit/>
          </a:bodyPr>
          <a:lstStyle>
            <a:lvl1pPr marL="1730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44C6468E-A8F1-4654-9A45-680B4704FD5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84370" y="2727960"/>
            <a:ext cx="2505095" cy="3466465"/>
          </a:xfrm>
        </p:spPr>
        <p:txBody>
          <a:bodyPr>
            <a:normAutofit/>
          </a:bodyPr>
          <a:lstStyle>
            <a:lvl1pPr marL="1730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D3A7CC4-909A-42D4-99B4-405DD6A690CE}"/>
              </a:ext>
            </a:extLst>
          </p:cNvPr>
          <p:cNvGrpSpPr/>
          <p:nvPr userDrawn="1"/>
        </p:nvGrpSpPr>
        <p:grpSpPr>
          <a:xfrm>
            <a:off x="3402535" y="1852613"/>
            <a:ext cx="2505095" cy="796401"/>
            <a:chOff x="3402535" y="2028080"/>
            <a:chExt cx="2505095" cy="620934"/>
          </a:xfrm>
        </p:grpSpPr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FE3C12D5-6A0C-4A90-AEF4-8BBEE133C7B8}"/>
                </a:ext>
              </a:extLst>
            </p:cNvPr>
            <p:cNvSpPr/>
            <p:nvPr userDrawn="1"/>
          </p:nvSpPr>
          <p:spPr>
            <a:xfrm>
              <a:off x="340253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46" name="Rectangle 15">
              <a:extLst>
                <a:ext uri="{FF2B5EF4-FFF2-40B4-BE49-F238E27FC236}">
                  <a16:creationId xmlns:a16="http://schemas.microsoft.com/office/drawing/2014/main" id="{FB411CCB-5677-49FE-868C-63060487EFF9}"/>
                </a:ext>
              </a:extLst>
            </p:cNvPr>
            <p:cNvSpPr/>
            <p:nvPr userDrawn="1"/>
          </p:nvSpPr>
          <p:spPr>
            <a:xfrm flipH="1">
              <a:off x="579714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31D5CD67-C094-49C6-B68F-904E99637AE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55080" y="1932011"/>
            <a:ext cx="2362200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F2F7AC8-FC39-4114-A75A-F5B309FADA56}"/>
              </a:ext>
            </a:extLst>
          </p:cNvPr>
          <p:cNvCxnSpPr>
            <a:cxnSpLocks/>
          </p:cNvCxnSpPr>
          <p:nvPr userDrawn="1"/>
        </p:nvCxnSpPr>
        <p:spPr>
          <a:xfrm>
            <a:off x="3214165" y="2727960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D7B0637-8114-4053-B9A6-FCF82118412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727960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35D960B-E5B6-449B-9EFB-F07C1BE3CE1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66205" y="2727960"/>
            <a:ext cx="2505095" cy="3466465"/>
          </a:xfrm>
        </p:spPr>
        <p:txBody>
          <a:bodyPr>
            <a:normAutofit/>
          </a:bodyPr>
          <a:lstStyle>
            <a:lvl1pPr marL="1730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5BD2113-B292-4541-BC74-19755F71C3C2}"/>
              </a:ext>
            </a:extLst>
          </p:cNvPr>
          <p:cNvGrpSpPr/>
          <p:nvPr userDrawn="1"/>
        </p:nvGrpSpPr>
        <p:grpSpPr>
          <a:xfrm>
            <a:off x="6284370" y="1852613"/>
            <a:ext cx="2505095" cy="796401"/>
            <a:chOff x="6284370" y="2028080"/>
            <a:chExt cx="2505095" cy="620934"/>
          </a:xfrm>
        </p:grpSpPr>
        <p:sp>
          <p:nvSpPr>
            <p:cNvPr id="53" name="Rectangle 15">
              <a:extLst>
                <a:ext uri="{FF2B5EF4-FFF2-40B4-BE49-F238E27FC236}">
                  <a16:creationId xmlns:a16="http://schemas.microsoft.com/office/drawing/2014/main" id="{F87936B0-B7E0-4097-B4A1-C064390EC348}"/>
                </a:ext>
              </a:extLst>
            </p:cNvPr>
            <p:cNvSpPr/>
            <p:nvPr userDrawn="1"/>
          </p:nvSpPr>
          <p:spPr>
            <a:xfrm>
              <a:off x="628437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54" name="Rectangle 15">
              <a:extLst>
                <a:ext uri="{FF2B5EF4-FFF2-40B4-BE49-F238E27FC236}">
                  <a16:creationId xmlns:a16="http://schemas.microsoft.com/office/drawing/2014/main" id="{9C358D58-0B3F-4D77-BE83-523745FEF4E6}"/>
                </a:ext>
              </a:extLst>
            </p:cNvPr>
            <p:cNvSpPr/>
            <p:nvPr userDrawn="1"/>
          </p:nvSpPr>
          <p:spPr>
            <a:xfrm flipH="1">
              <a:off x="867897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37BA7F1-12BA-43DF-ADA8-88E8559C8AAA}"/>
              </a:ext>
            </a:extLst>
          </p:cNvPr>
          <p:cNvGrpSpPr/>
          <p:nvPr userDrawn="1"/>
        </p:nvGrpSpPr>
        <p:grpSpPr>
          <a:xfrm>
            <a:off x="9166205" y="1852613"/>
            <a:ext cx="2505095" cy="796401"/>
            <a:chOff x="9166205" y="2028080"/>
            <a:chExt cx="2505095" cy="620934"/>
          </a:xfrm>
        </p:grpSpPr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82EA8142-B1E2-439E-9328-D93B360F480B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55" name="Rectangle 15">
              <a:extLst>
                <a:ext uri="{FF2B5EF4-FFF2-40B4-BE49-F238E27FC236}">
                  <a16:creationId xmlns:a16="http://schemas.microsoft.com/office/drawing/2014/main" id="{F5874F68-F3AA-41A2-9B56-67ED5186C3B8}"/>
                </a:ext>
              </a:extLst>
            </p:cNvPr>
            <p:cNvSpPr/>
            <p:nvPr userDrawn="1"/>
          </p:nvSpPr>
          <p:spPr>
            <a:xfrm>
              <a:off x="91662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199D7BF7-161D-49DC-B9B2-4CBC0FC1EC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35440" y="1932011"/>
            <a:ext cx="236575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B82116B-6733-4FBB-8DB8-D7E8C6027F54}"/>
              </a:ext>
            </a:extLst>
          </p:cNvPr>
          <p:cNvCxnSpPr>
            <a:cxnSpLocks/>
          </p:cNvCxnSpPr>
          <p:nvPr userDrawn="1"/>
        </p:nvCxnSpPr>
        <p:spPr>
          <a:xfrm>
            <a:off x="8977835" y="2727960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5">
            <a:extLst>
              <a:ext uri="{FF2B5EF4-FFF2-40B4-BE49-F238E27FC236}">
                <a16:creationId xmlns:a16="http://schemas.microsoft.com/office/drawing/2014/main" id="{44C922BA-DB39-4EF8-864F-6D5584EC9A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0802" y="1932011"/>
            <a:ext cx="2367864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5953085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95692FC-365B-442C-B346-23FD917E98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69842" y="0"/>
            <a:ext cx="462215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324" y="1493004"/>
            <a:ext cx="477602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2C385CF-5E01-4659-9C54-C45B3F4341F8}"/>
              </a:ext>
            </a:extLst>
          </p:cNvPr>
          <p:cNvSpPr/>
          <p:nvPr userDrawn="1"/>
        </p:nvSpPr>
        <p:spPr>
          <a:xfrm>
            <a:off x="844952" y="697374"/>
            <a:ext cx="8090704" cy="474838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E172A5-4D9B-44A1-BA41-CF20917287CC}"/>
              </a:ext>
            </a:extLst>
          </p:cNvPr>
          <p:cNvSpPr/>
          <p:nvPr userDrawn="1"/>
        </p:nvSpPr>
        <p:spPr>
          <a:xfrm>
            <a:off x="0" y="1644686"/>
            <a:ext cx="1993392" cy="10221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D4391F-E316-43A9-BBB7-9F617857C780}"/>
              </a:ext>
            </a:extLst>
          </p:cNvPr>
          <p:cNvSpPr/>
          <p:nvPr userDrawn="1"/>
        </p:nvSpPr>
        <p:spPr>
          <a:xfrm>
            <a:off x="0" y="1644686"/>
            <a:ext cx="182880" cy="10221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C4B8006-6D20-4591-AF40-5A4B089FDD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2324" y="3067487"/>
            <a:ext cx="4776024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888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3046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4FC7C7-2B27-49C4-B9D4-53BFD986A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4FC7C7-2B27-49C4-B9D4-53BFD986A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2156EE-4523-4C3B-A50D-CB3AA75146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B501DF7-D921-4EA4-8305-ADCB05E8B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65127"/>
            <a:ext cx="10901413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96543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922F33-ABD7-429A-9810-3DD4CF8FE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87853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E5ED6F4-038C-4AC7-8A35-1073C428C1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30CC13B-61A5-436F-9898-D42A1830B925}"/>
              </a:ext>
            </a:extLst>
          </p:cNvPr>
          <p:cNvSpPr/>
          <p:nvPr userDrawn="1"/>
        </p:nvSpPr>
        <p:spPr>
          <a:xfrm>
            <a:off x="2164466" y="0"/>
            <a:ext cx="10027534" cy="2812648"/>
          </a:xfrm>
          <a:prstGeom prst="rect">
            <a:avLst/>
          </a:prstGeom>
          <a:solidFill>
            <a:schemeClr val="tx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24F9A63D-4EDC-4E69-8642-954A344C7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7720" y="2100428"/>
            <a:ext cx="6948796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Ready to  Help You Get Starte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F546FA8-0D8D-4FF8-B321-A55244CC47B6}"/>
              </a:ext>
            </a:extLst>
          </p:cNvPr>
          <p:cNvSpPr/>
          <p:nvPr userDrawn="1"/>
        </p:nvSpPr>
        <p:spPr>
          <a:xfrm>
            <a:off x="2164466" y="2768216"/>
            <a:ext cx="10027534" cy="408978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1D8015-4367-468D-8FA1-82CB5FF02646}"/>
              </a:ext>
            </a:extLst>
          </p:cNvPr>
          <p:cNvGrpSpPr/>
          <p:nvPr userDrawn="1"/>
        </p:nvGrpSpPr>
        <p:grpSpPr>
          <a:xfrm>
            <a:off x="2004060" y="0"/>
            <a:ext cx="160416" cy="4045353"/>
            <a:chOff x="4595336" y="0"/>
            <a:chExt cx="54864" cy="3829838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959ADA8-A00E-4907-A1B5-F79E303E2EBC}"/>
                </a:ext>
              </a:extLst>
            </p:cNvPr>
            <p:cNvSpPr/>
            <p:nvPr userDrawn="1"/>
          </p:nvSpPr>
          <p:spPr>
            <a:xfrm>
              <a:off x="4595336" y="1284492"/>
              <a:ext cx="54864" cy="13286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0FC23A7-0496-47BE-9E23-910537408A5B}"/>
                </a:ext>
              </a:extLst>
            </p:cNvPr>
            <p:cNvSpPr/>
            <p:nvPr userDrawn="1"/>
          </p:nvSpPr>
          <p:spPr>
            <a:xfrm>
              <a:off x="4595336" y="2613139"/>
              <a:ext cx="54864" cy="121669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0717B3-1DD2-4FC4-8F37-AD424D15394B}"/>
                </a:ext>
              </a:extLst>
            </p:cNvPr>
            <p:cNvSpPr/>
            <p:nvPr userDrawn="1"/>
          </p:nvSpPr>
          <p:spPr>
            <a:xfrm>
              <a:off x="4595336" y="0"/>
              <a:ext cx="54864" cy="132864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>
                <a:solidFill>
                  <a:schemeClr val="bg1"/>
                </a:solidFill>
              </a:endParaRPr>
            </a:p>
          </p:txBody>
        </p:sp>
      </p:grp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1EC76653-5C39-4412-9E56-229D189B2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934" y="4704797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ADAB94D4-E3EF-4066-88A3-2EB38A8D0C5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80934" y="5105916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8BA3726B-6B15-449D-BBC7-739E4B8C95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80934" y="5507035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394A43BF-D36E-4E52-A734-F421675D32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60072" y="6065134"/>
            <a:ext cx="1831989" cy="573071"/>
          </a:xfrm>
          <a:prstGeom prst="rect">
            <a:avLst/>
          </a:prstGeom>
        </p:spPr>
      </p:pic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12CFDC1-7E9B-464B-BB8E-7E47FFE4B1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2020" y="3494414"/>
            <a:ext cx="5501961" cy="103602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3874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5623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erson standing next to a window&#10;&#10;Description automatically generated">
            <a:extLst>
              <a:ext uri="{FF2B5EF4-FFF2-40B4-BE49-F238E27FC236}">
                <a16:creationId xmlns:a16="http://schemas.microsoft.com/office/drawing/2014/main" id="{62B3E9E1-3CFD-47FD-94B4-9AFEDE587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888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D1CC"/>
          </a:solidFill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636B5ED-6580-4FE3-88C5-19FB88AA3006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33000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42C1FA-57E4-4F7A-BD39-F22A436D9C12}"/>
              </a:ext>
            </a:extLst>
          </p:cNvPr>
          <p:cNvSpPr/>
          <p:nvPr userDrawn="1"/>
        </p:nvSpPr>
        <p:spPr>
          <a:xfrm>
            <a:off x="322580" y="272287"/>
            <a:ext cx="6489700" cy="6313427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0" y="365125"/>
            <a:ext cx="6093460" cy="793115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DD5554D-86AD-4CCF-B343-8352047239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1160" y="1722120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823F462-8C13-4777-A63B-0D54D90D06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0" y="1722120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81C03F2-F965-4410-9DBB-DC71313CD75B}"/>
              </a:ext>
            </a:extLst>
          </p:cNvPr>
          <p:cNvCxnSpPr/>
          <p:nvPr userDrawn="1"/>
        </p:nvCxnSpPr>
        <p:spPr>
          <a:xfrm>
            <a:off x="1463040" y="1793681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6F6688E-C326-402D-9D80-0152669EE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61160" y="2682399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BEDA4EE5-EB7F-4FCF-8BF2-E4F010E79D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700" y="2682399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0809D35-9B08-40BA-B06C-63AC620EC8AB}"/>
              </a:ext>
            </a:extLst>
          </p:cNvPr>
          <p:cNvCxnSpPr/>
          <p:nvPr userDrawn="1"/>
        </p:nvCxnSpPr>
        <p:spPr>
          <a:xfrm>
            <a:off x="1463040" y="2753960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6D6A225E-F941-46A1-952F-666ACBB8C1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661160" y="3642678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F7504E07-E294-4675-AF6C-596199AFB4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700" y="3642678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3602AC8-AC3C-4B64-902D-0F28BA6B1952}"/>
              </a:ext>
            </a:extLst>
          </p:cNvPr>
          <p:cNvCxnSpPr/>
          <p:nvPr userDrawn="1"/>
        </p:nvCxnSpPr>
        <p:spPr>
          <a:xfrm>
            <a:off x="1463040" y="3714239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D9AA3743-379D-4AE0-B6FA-A752F7F4C8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61160" y="4602957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F6EE7C4-97A7-4403-9F54-4DC9511F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700" y="4602957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2CCFA75-F87D-4EC8-9471-431A821BEA80}"/>
              </a:ext>
            </a:extLst>
          </p:cNvPr>
          <p:cNvCxnSpPr/>
          <p:nvPr userDrawn="1"/>
        </p:nvCxnSpPr>
        <p:spPr>
          <a:xfrm>
            <a:off x="1463040" y="4674518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59E292AF-5D45-4972-8CE1-7A0E723DEC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61160" y="5563235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AEE0CF3E-9445-448D-B3AA-BC211F38D0A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0" y="5563235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AC8BAC2-4CC0-4410-8770-7967D88C41AB}"/>
              </a:ext>
            </a:extLst>
          </p:cNvPr>
          <p:cNvCxnSpPr/>
          <p:nvPr userDrawn="1"/>
        </p:nvCxnSpPr>
        <p:spPr>
          <a:xfrm>
            <a:off x="1463040" y="5634796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F971B9B-BE5C-4C87-8ADB-BCEDA4F0A771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81F7E54-1329-4D27-B928-1E8A5F1C072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0FC3D59-C3B5-4C0A-AB10-14F571ADA78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4878749-CA49-48D7-ABB8-A32BDC4A51F1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0720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E02CA5-6A57-4C27-B743-796729641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AE7F856-1808-47FE-91E7-4F6747826689}"/>
              </a:ext>
            </a:extLst>
          </p:cNvPr>
          <p:cNvCxnSpPr>
            <a:cxnSpLocks/>
            <a:stCxn id="67" idx="4"/>
          </p:cNvCxnSpPr>
          <p:nvPr userDrawn="1"/>
        </p:nvCxnSpPr>
        <p:spPr>
          <a:xfrm flipH="1">
            <a:off x="9711790" y="4757460"/>
            <a:ext cx="1" cy="402037"/>
          </a:xfrm>
          <a:prstGeom prst="lin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507C0DF-039B-4CFF-94C0-9290E3823DE4}"/>
              </a:ext>
            </a:extLst>
          </p:cNvPr>
          <p:cNvCxnSpPr>
            <a:cxnSpLocks/>
            <a:stCxn id="65" idx="4"/>
          </p:cNvCxnSpPr>
          <p:nvPr userDrawn="1"/>
        </p:nvCxnSpPr>
        <p:spPr>
          <a:xfrm>
            <a:off x="6096000" y="4757460"/>
            <a:ext cx="0" cy="402037"/>
          </a:xfrm>
          <a:prstGeom prst="lin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C5842DD-507D-453F-8A22-73ACC1426B64}"/>
              </a:ext>
            </a:extLst>
          </p:cNvPr>
          <p:cNvCxnSpPr>
            <a:cxnSpLocks/>
            <a:endCxn id="82" idx="0"/>
          </p:cNvCxnSpPr>
          <p:nvPr userDrawn="1"/>
        </p:nvCxnSpPr>
        <p:spPr>
          <a:xfrm>
            <a:off x="7900887" y="2797244"/>
            <a:ext cx="3008" cy="442882"/>
          </a:xfrm>
          <a:prstGeom prst="lin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86EC2B7-E151-4875-9B42-B04BEF751CA6}"/>
              </a:ext>
            </a:extLst>
          </p:cNvPr>
          <p:cNvCxnSpPr>
            <a:cxnSpLocks/>
            <a:endCxn id="80" idx="0"/>
          </p:cNvCxnSpPr>
          <p:nvPr userDrawn="1"/>
        </p:nvCxnSpPr>
        <p:spPr>
          <a:xfrm>
            <a:off x="4288105" y="2797244"/>
            <a:ext cx="1" cy="442882"/>
          </a:xfrm>
          <a:prstGeom prst="lin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9780F37-7A4C-4E5A-88CF-F30C2CC63746}"/>
              </a:ext>
            </a:extLst>
          </p:cNvPr>
          <p:cNvCxnSpPr>
            <a:cxnSpLocks/>
            <a:stCxn id="63" idx="4"/>
          </p:cNvCxnSpPr>
          <p:nvPr userDrawn="1"/>
        </p:nvCxnSpPr>
        <p:spPr>
          <a:xfrm>
            <a:off x="2480209" y="4757460"/>
            <a:ext cx="0" cy="402037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" name="Arc 41">
            <a:extLst>
              <a:ext uri="{FF2B5EF4-FFF2-40B4-BE49-F238E27FC236}">
                <a16:creationId xmlns:a16="http://schemas.microsoft.com/office/drawing/2014/main" id="{47426BC8-2576-4BAF-A590-8E7C87F16C7C}"/>
              </a:ext>
            </a:extLst>
          </p:cNvPr>
          <p:cNvSpPr/>
          <p:nvPr userDrawn="1"/>
        </p:nvSpPr>
        <p:spPr>
          <a:xfrm>
            <a:off x="1579271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68872EAE-2501-466A-8768-3FFA4D3F1BDA}"/>
              </a:ext>
            </a:extLst>
          </p:cNvPr>
          <p:cNvSpPr/>
          <p:nvPr userDrawn="1"/>
        </p:nvSpPr>
        <p:spPr>
          <a:xfrm flipV="1">
            <a:off x="3387167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BAC87C54-6BC6-4AAD-A55F-A368D26BFF4E}"/>
              </a:ext>
            </a:extLst>
          </p:cNvPr>
          <p:cNvSpPr/>
          <p:nvPr userDrawn="1"/>
        </p:nvSpPr>
        <p:spPr>
          <a:xfrm>
            <a:off x="5195062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174129EC-92BC-4FEB-8E7B-88FEA78F8DB9}"/>
              </a:ext>
            </a:extLst>
          </p:cNvPr>
          <p:cNvSpPr/>
          <p:nvPr userDrawn="1"/>
        </p:nvSpPr>
        <p:spPr>
          <a:xfrm flipV="1">
            <a:off x="7002957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FBD3F685-4D9A-4ADC-93FA-B0C8431611FB}"/>
              </a:ext>
            </a:extLst>
          </p:cNvPr>
          <p:cNvSpPr/>
          <p:nvPr userDrawn="1"/>
        </p:nvSpPr>
        <p:spPr>
          <a:xfrm>
            <a:off x="8810852" y="3077434"/>
            <a:ext cx="1801877" cy="1801874"/>
          </a:xfrm>
          <a:prstGeom prst="arc">
            <a:avLst>
              <a:gd name="adj1" fmla="val 77042"/>
              <a:gd name="adj2" fmla="val 10761043"/>
            </a:avLst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7222F01-D57A-410D-8D17-C6ABBE58C5C0}"/>
              </a:ext>
            </a:extLst>
          </p:cNvPr>
          <p:cNvSpPr/>
          <p:nvPr userDrawn="1"/>
        </p:nvSpPr>
        <p:spPr>
          <a:xfrm>
            <a:off x="1701118" y="3199281"/>
            <a:ext cx="1558182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9DD41C-0C1B-42A1-9A0C-5010051904DC}"/>
              </a:ext>
            </a:extLst>
          </p:cNvPr>
          <p:cNvSpPr/>
          <p:nvPr userDrawn="1"/>
        </p:nvSpPr>
        <p:spPr>
          <a:xfrm>
            <a:off x="3509014" y="3199281"/>
            <a:ext cx="1558182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4C84715-72F1-46B4-8A6E-40127632D47C}"/>
              </a:ext>
            </a:extLst>
          </p:cNvPr>
          <p:cNvSpPr/>
          <p:nvPr userDrawn="1"/>
        </p:nvSpPr>
        <p:spPr>
          <a:xfrm>
            <a:off x="5316909" y="3199281"/>
            <a:ext cx="1558182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45186D40-9868-43B7-A02A-AF5D2D0F2390}"/>
              </a:ext>
            </a:extLst>
          </p:cNvPr>
          <p:cNvSpPr/>
          <p:nvPr userDrawn="1"/>
        </p:nvSpPr>
        <p:spPr>
          <a:xfrm>
            <a:off x="7124804" y="3199281"/>
            <a:ext cx="1558182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E3545CB-968F-42BD-900B-10240AB8369C}"/>
              </a:ext>
            </a:extLst>
          </p:cNvPr>
          <p:cNvSpPr/>
          <p:nvPr userDrawn="1"/>
        </p:nvSpPr>
        <p:spPr>
          <a:xfrm>
            <a:off x="8932700" y="3199281"/>
            <a:ext cx="1558182" cy="1558179"/>
          </a:xfrm>
          <a:prstGeom prst="ellipse">
            <a:avLst/>
          </a:prstGeom>
          <a:solidFill>
            <a:schemeClr val="bg1">
              <a:alpha val="9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254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8521E28-F042-4670-96FA-B4CB2359DDEF}"/>
              </a:ext>
            </a:extLst>
          </p:cNvPr>
          <p:cNvSpPr/>
          <p:nvPr userDrawn="1"/>
        </p:nvSpPr>
        <p:spPr>
          <a:xfrm>
            <a:off x="3333148" y="3954507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EEB685E2-A7F3-4BC8-ACBB-55769CA08AFB}"/>
              </a:ext>
            </a:extLst>
          </p:cNvPr>
          <p:cNvSpPr/>
          <p:nvPr userDrawn="1"/>
        </p:nvSpPr>
        <p:spPr>
          <a:xfrm>
            <a:off x="5147062" y="3954507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87784411-1CF0-4C82-8443-E9703D7E33ED}"/>
              </a:ext>
            </a:extLst>
          </p:cNvPr>
          <p:cNvSpPr/>
          <p:nvPr userDrawn="1"/>
        </p:nvSpPr>
        <p:spPr>
          <a:xfrm>
            <a:off x="6954957" y="3954507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4BCFF118-BF74-4555-9CB6-95CDBE90F6DC}"/>
              </a:ext>
            </a:extLst>
          </p:cNvPr>
          <p:cNvSpPr/>
          <p:nvPr userDrawn="1"/>
        </p:nvSpPr>
        <p:spPr>
          <a:xfrm>
            <a:off x="8756834" y="3954507"/>
            <a:ext cx="95999" cy="9599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400" b="1">
              <a:solidFill>
                <a:schemeClr val="bg1"/>
              </a:solidFill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F9DA0B8-593B-4B0C-96C0-B48B07816981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3998212"/>
            <a:ext cx="1579330" cy="0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8A7C0C5-A076-4AEF-8089-AC035255A887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2504" y="3998212"/>
            <a:ext cx="1579496" cy="0"/>
          </a:xfrm>
          <a:prstGeom prst="lin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19767C8F-A3BC-404E-B12E-A21EEEBFB8C3}"/>
              </a:ext>
            </a:extLst>
          </p:cNvPr>
          <p:cNvSpPr/>
          <p:nvPr userDrawn="1"/>
        </p:nvSpPr>
        <p:spPr>
          <a:xfrm>
            <a:off x="2367198" y="3240126"/>
            <a:ext cx="226023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1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1726A77-29A1-46BE-A4CD-F2AEC1659FF0}"/>
              </a:ext>
            </a:extLst>
          </p:cNvPr>
          <p:cNvSpPr/>
          <p:nvPr userDrawn="1"/>
        </p:nvSpPr>
        <p:spPr>
          <a:xfrm>
            <a:off x="4143835" y="3240126"/>
            <a:ext cx="288541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2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E77B44C-5385-4B71-B25C-AC92FBAED5D9}"/>
              </a:ext>
            </a:extLst>
          </p:cNvPr>
          <p:cNvSpPr/>
          <p:nvPr userDrawn="1"/>
        </p:nvSpPr>
        <p:spPr>
          <a:xfrm>
            <a:off x="5951730" y="3240126"/>
            <a:ext cx="288541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3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B8DB64-B740-454D-BB3C-1F4DF94F35E9}"/>
              </a:ext>
            </a:extLst>
          </p:cNvPr>
          <p:cNvSpPr/>
          <p:nvPr userDrawn="1"/>
        </p:nvSpPr>
        <p:spPr>
          <a:xfrm>
            <a:off x="7754014" y="3240126"/>
            <a:ext cx="299762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4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5EFD0D9-F14A-4157-AF37-ADDEA767021B}"/>
              </a:ext>
            </a:extLst>
          </p:cNvPr>
          <p:cNvSpPr/>
          <p:nvPr userDrawn="1"/>
        </p:nvSpPr>
        <p:spPr>
          <a:xfrm>
            <a:off x="9573132" y="3240126"/>
            <a:ext cx="27731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D72379-AE8D-4A73-97BE-5324D39C20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0900" y="5207769"/>
            <a:ext cx="3251200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6F25BAC0-8DB4-4CE5-8B80-5072EAC46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7700" y="5207769"/>
            <a:ext cx="3251200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97" name="Text Placeholder 6">
            <a:extLst>
              <a:ext uri="{FF2B5EF4-FFF2-40B4-BE49-F238E27FC236}">
                <a16:creationId xmlns:a16="http://schemas.microsoft.com/office/drawing/2014/main" id="{F1119F1A-C62C-4FD7-A010-3EEB0B4BBF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9900" y="5207769"/>
            <a:ext cx="3251200" cy="405631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D5EEE769-2DD3-48AE-9784-C716827D98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900" y="5664970"/>
            <a:ext cx="3251200" cy="515766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10D665B1-1754-46B6-A3EB-EE2E6503CB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57700" y="5664970"/>
            <a:ext cx="3251200" cy="515766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00" name="Text Placeholder 6">
            <a:extLst>
              <a:ext uri="{FF2B5EF4-FFF2-40B4-BE49-F238E27FC236}">
                <a16:creationId xmlns:a16="http://schemas.microsoft.com/office/drawing/2014/main" id="{A80AB894-B44F-47E1-9505-A5F14908F3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9900" y="5664970"/>
            <a:ext cx="3251200" cy="515766"/>
          </a:xfrm>
        </p:spPr>
        <p:txBody>
          <a:bodyPr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01" name="Text Placeholder 6">
            <a:extLst>
              <a:ext uri="{FF2B5EF4-FFF2-40B4-BE49-F238E27FC236}">
                <a16:creationId xmlns:a16="http://schemas.microsoft.com/office/drawing/2014/main" id="{D124C620-3BCE-4C7A-B09B-AAC74618DA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62505" y="2384947"/>
            <a:ext cx="3251200" cy="405631"/>
          </a:xfrm>
        </p:spPr>
        <p:txBody>
          <a:bodyPr anchor="b">
            <a:normAutofit/>
          </a:bodyPr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BBE9F374-4166-4C44-9A3E-3A66E4DEC4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62505" y="1800748"/>
            <a:ext cx="3251200" cy="51576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FB225CAC-3AEC-4A0E-97BB-EB787B419E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9305" y="2384947"/>
            <a:ext cx="3251200" cy="405631"/>
          </a:xfrm>
        </p:spPr>
        <p:txBody>
          <a:bodyPr anchor="b">
            <a:normAutofit/>
          </a:bodyPr>
          <a:lstStyle>
            <a:lvl1pPr marL="0" indent="0" algn="ctr">
              <a:buNone/>
              <a:defRPr sz="2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IN"/>
          </a:p>
        </p:txBody>
      </p:sp>
      <p:sp>
        <p:nvSpPr>
          <p:cNvPr id="104" name="Text Placeholder 6">
            <a:extLst>
              <a:ext uri="{FF2B5EF4-FFF2-40B4-BE49-F238E27FC236}">
                <a16:creationId xmlns:a16="http://schemas.microsoft.com/office/drawing/2014/main" id="{4C2AEF54-AAB5-4955-A099-D755C353BE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69305" y="1800748"/>
            <a:ext cx="3251200" cy="51576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162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Click="0" advTm="15000">
        <p:cut/>
      </p:transition>
    </mc:Choice>
    <mc:Fallback xmlns="">
      <p:transition advClick="0" advTm="15000"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with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478C8-9A68-41B1-BFAC-D0E51BC8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773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C2037EC-21DA-4052-B3C2-04CB58D5D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2505" r="43490"/>
          <a:stretch/>
        </p:blipFill>
        <p:spPr>
          <a:xfrm>
            <a:off x="9845040" y="-1"/>
            <a:ext cx="2346960" cy="6858001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BDDAEE22-A923-422E-9B79-FEA93EE93AA8}"/>
              </a:ext>
            </a:extLst>
          </p:cNvPr>
          <p:cNvGrpSpPr/>
          <p:nvPr userDrawn="1"/>
        </p:nvGrpSpPr>
        <p:grpSpPr>
          <a:xfrm>
            <a:off x="10670875" y="235"/>
            <a:ext cx="1521125" cy="137160"/>
            <a:chOff x="85490" y="5421819"/>
            <a:chExt cx="9411633" cy="29550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F0B170F-1AFC-4B76-96D6-5B8F81192F7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1AD5385-F83D-416B-BD0C-6FFFA50E62D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59C6992-B5C8-42A0-8C3B-FB74E74D4F58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CE28DE0-E132-483C-8846-EF8C76AF36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798638"/>
            <a:ext cx="8877300" cy="4403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11483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Click="0" advTm="15000">
        <p:cut/>
      </p:transition>
    </mc:Choice>
    <mc:Fallback xmlns="">
      <p:transition advClick="0" advTm="15000"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A1177BED-3B24-4E87-8507-2D9E8ADCD9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5000"/>
          </a:blip>
          <a:srcRect l="34315" t="15251" r="15685"/>
          <a:stretch/>
        </p:blipFill>
        <p:spPr>
          <a:xfrm flipH="1">
            <a:off x="6122914" y="-88135"/>
            <a:ext cx="6069086" cy="6946135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3CD481-D636-4C1F-8C0E-34345BA983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027" y="1532954"/>
            <a:ext cx="7020643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059D6C-29D2-4FF9-A9C9-0F22ADB691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0790" y="4151176"/>
            <a:ext cx="7020643" cy="675059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EDBB68-C37F-4D73-B245-61DD5AB04CB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3302" y="6081146"/>
            <a:ext cx="1607903" cy="50297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DB9ACBB8-27E0-403E-B233-AB1E62520393}"/>
              </a:ext>
            </a:extLst>
          </p:cNvPr>
          <p:cNvGrpSpPr/>
          <p:nvPr userDrawn="1"/>
        </p:nvGrpSpPr>
        <p:grpSpPr>
          <a:xfrm>
            <a:off x="291874" y="1838036"/>
            <a:ext cx="5868781" cy="84981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4E7510A-5349-4DAB-B2A1-5693372E2531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6E18970-1453-435B-BE60-293F490C1049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5AFF5BC-CF81-4679-9C53-1F50CE22BC37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3406866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erson standing next to a window&#10;&#10;Description automatically generated">
            <a:extLst>
              <a:ext uri="{FF2B5EF4-FFF2-40B4-BE49-F238E27FC236}">
                <a16:creationId xmlns:a16="http://schemas.microsoft.com/office/drawing/2014/main" id="{62B3E9E1-3CFD-47FD-94B4-9AFEDE587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888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D1CC"/>
          </a:solidFill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636B5ED-6580-4FE3-88C5-19FB88AA3006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33000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42C1FA-57E4-4F7A-BD39-F22A436D9C12}"/>
              </a:ext>
            </a:extLst>
          </p:cNvPr>
          <p:cNvSpPr/>
          <p:nvPr userDrawn="1"/>
        </p:nvSpPr>
        <p:spPr>
          <a:xfrm>
            <a:off x="322581" y="272289"/>
            <a:ext cx="6489700" cy="6313427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1" y="365127"/>
            <a:ext cx="6093460" cy="793115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DD5554D-86AD-4CCF-B343-8352047239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1160" y="1722122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823F462-8C13-4777-A63B-0D54D90D06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1722122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81C03F2-F965-4410-9DBB-DC71313CD75B}"/>
              </a:ext>
            </a:extLst>
          </p:cNvPr>
          <p:cNvCxnSpPr/>
          <p:nvPr userDrawn="1"/>
        </p:nvCxnSpPr>
        <p:spPr>
          <a:xfrm>
            <a:off x="1463040" y="1793681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6F6688E-C326-402D-9D80-0152669EE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61160" y="2682401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BEDA4EE5-EB7F-4FCF-8BF2-E4F010E79D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701" y="2682401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0809D35-9B08-40BA-B06C-63AC620EC8AB}"/>
              </a:ext>
            </a:extLst>
          </p:cNvPr>
          <p:cNvCxnSpPr/>
          <p:nvPr userDrawn="1"/>
        </p:nvCxnSpPr>
        <p:spPr>
          <a:xfrm>
            <a:off x="1463040" y="2753960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6D6A225E-F941-46A1-952F-666ACBB8C1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661160" y="3642678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F7504E07-E294-4675-AF6C-596199AFB4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701" y="3642678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3602AC8-AC3C-4B64-902D-0F28BA6B1952}"/>
              </a:ext>
            </a:extLst>
          </p:cNvPr>
          <p:cNvCxnSpPr/>
          <p:nvPr userDrawn="1"/>
        </p:nvCxnSpPr>
        <p:spPr>
          <a:xfrm>
            <a:off x="1463040" y="3714239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D9AA3743-379D-4AE0-B6FA-A752F7F4C8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61160" y="4602959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F6EE7C4-97A7-4403-9F54-4DC9511F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701" y="4602959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2CCFA75-F87D-4EC8-9471-431A821BEA80}"/>
              </a:ext>
            </a:extLst>
          </p:cNvPr>
          <p:cNvCxnSpPr/>
          <p:nvPr userDrawn="1"/>
        </p:nvCxnSpPr>
        <p:spPr>
          <a:xfrm>
            <a:off x="1463040" y="4674518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59E292AF-5D45-4972-8CE1-7A0E723DEC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61160" y="5563237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AEE0CF3E-9445-448D-B3AA-BC211F38D0A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1" y="5563237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AC8BAC2-4CC0-4410-8770-7967D88C41AB}"/>
              </a:ext>
            </a:extLst>
          </p:cNvPr>
          <p:cNvCxnSpPr/>
          <p:nvPr userDrawn="1"/>
        </p:nvCxnSpPr>
        <p:spPr>
          <a:xfrm>
            <a:off x="1463040" y="5634796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F971B9B-BE5C-4C87-8ADB-BCEDA4F0A771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81F7E54-1329-4D27-B928-1E8A5F1C072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0FC3D59-C3B5-4C0A-AB10-14F571ADA78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4878749-CA49-48D7-ABB8-A32BDC4A51F1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261975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9D31AE97-88F7-4A2F-B2F1-D0428D8D5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250725" y="0"/>
            <a:ext cx="3715473" cy="6858000"/>
          </a:xfrm>
          <a:custGeom>
            <a:avLst/>
            <a:gdLst>
              <a:gd name="connsiteX0" fmla="*/ 0 w 3715473"/>
              <a:gd name="connsiteY0" fmla="*/ 0 h 6858000"/>
              <a:gd name="connsiteX1" fmla="*/ 3715473 w 3715473"/>
              <a:gd name="connsiteY1" fmla="*/ 0 h 6858000"/>
              <a:gd name="connsiteX2" fmla="*/ 3715473 w 3715473"/>
              <a:gd name="connsiteY2" fmla="*/ 6858000 h 6858000"/>
              <a:gd name="connsiteX3" fmla="*/ 0 w 371547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5473" h="6858000">
                <a:moveTo>
                  <a:pt x="0" y="0"/>
                </a:moveTo>
                <a:lnTo>
                  <a:pt x="3715473" y="0"/>
                </a:lnTo>
                <a:lnTo>
                  <a:pt x="371547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4A70D-5CB5-4EA2-9003-33C4F5254E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1" y="365127"/>
            <a:ext cx="743110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08A7EC-9406-453E-B404-477E40E7A1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B8371F-F042-4A82-A7CB-C62CA2A5034B}"/>
              </a:ext>
            </a:extLst>
          </p:cNvPr>
          <p:cNvGrpSpPr/>
          <p:nvPr userDrawn="1"/>
        </p:nvGrpSpPr>
        <p:grpSpPr>
          <a:xfrm>
            <a:off x="520701" y="1879438"/>
            <a:ext cx="744220" cy="793115"/>
            <a:chOff x="520700" y="2152891"/>
            <a:chExt cx="919480" cy="9144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6139E2-738B-46F6-B13A-1851A084F546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54BF634C-0769-4E80-9FDB-508E040D56C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80131B9-0844-4F00-A41B-1E78FEBDF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91920" y="1879438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4C5F20EE-DC2A-440D-8B72-9865496C12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5311" y="1936587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AD43C7-3C1F-4BD2-9F70-1EFFD7379064}"/>
              </a:ext>
            </a:extLst>
          </p:cNvPr>
          <p:cNvGrpSpPr/>
          <p:nvPr userDrawn="1"/>
        </p:nvGrpSpPr>
        <p:grpSpPr>
          <a:xfrm>
            <a:off x="520701" y="2861302"/>
            <a:ext cx="744220" cy="793115"/>
            <a:chOff x="520700" y="2152891"/>
            <a:chExt cx="919480" cy="914400"/>
          </a:xfrm>
        </p:grpSpPr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68327E3D-06FF-4D07-890A-086FB05E3999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1C07A5C6-F155-4EAB-B9EA-CB420C04EEB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1DC8A98-ADA8-4C2F-9C01-BD8B50D0A7B4}"/>
              </a:ext>
            </a:extLst>
          </p:cNvPr>
          <p:cNvGrpSpPr/>
          <p:nvPr userDrawn="1"/>
        </p:nvGrpSpPr>
        <p:grpSpPr>
          <a:xfrm>
            <a:off x="520701" y="3822801"/>
            <a:ext cx="744220" cy="793115"/>
            <a:chOff x="520700" y="2152891"/>
            <a:chExt cx="919480" cy="914400"/>
          </a:xfrm>
        </p:grpSpPr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AD61FB68-4DA5-4D0A-BEE4-5963F349EF83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6" name="Rectangle 15">
              <a:extLst>
                <a:ext uri="{FF2B5EF4-FFF2-40B4-BE49-F238E27FC236}">
                  <a16:creationId xmlns:a16="http://schemas.microsoft.com/office/drawing/2014/main" id="{E58E4402-A6B6-4126-928F-4DD9AC8D3FAF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8C77C39-E854-4F2D-ADCD-4FAE77BBB362}"/>
              </a:ext>
            </a:extLst>
          </p:cNvPr>
          <p:cNvGrpSpPr/>
          <p:nvPr userDrawn="1"/>
        </p:nvGrpSpPr>
        <p:grpSpPr>
          <a:xfrm>
            <a:off x="520701" y="4784300"/>
            <a:ext cx="744220" cy="793115"/>
            <a:chOff x="520700" y="2152891"/>
            <a:chExt cx="919480" cy="914400"/>
          </a:xfrm>
        </p:grpSpPr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561987EB-90A3-4094-A404-6CB3A9B02F18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065B89EC-1459-419C-977E-3DA3CE030C3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CE6AB0A-CA06-46ED-B64F-E403674C7913}"/>
              </a:ext>
            </a:extLst>
          </p:cNvPr>
          <p:cNvGrpSpPr/>
          <p:nvPr userDrawn="1"/>
        </p:nvGrpSpPr>
        <p:grpSpPr>
          <a:xfrm>
            <a:off x="520701" y="5745799"/>
            <a:ext cx="744220" cy="793115"/>
            <a:chOff x="520700" y="2152891"/>
            <a:chExt cx="919480" cy="914400"/>
          </a:xfrm>
        </p:grpSpPr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DBDBD5D0-4B26-4184-9E97-9B55F4246F05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BFA2288F-93AF-46E1-A79A-7ED7AA9CF20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37AA991B-8B5C-4C9B-9A1B-A503AF32D0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91920" y="2861302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EE80A6A2-06A2-41B8-BE39-970323406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311" y="2918450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A5871AA4-CBD8-483C-BAC2-CC0CF238AE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91920" y="3822801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542B705B-93A4-45D9-901F-EF90E837A7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5311" y="3879949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4B83E4D6-A21B-4AC6-BD72-C905E3E93B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91920" y="4784300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ACDEEF47-FC5A-41D6-BDAA-DCF4BF1FF9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5311" y="4841448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E17CEA9-16D8-4348-AD88-AEE4AC9E33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91920" y="5745799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7E9BCE8-921B-4952-9B03-4D9DD9BFB2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5311" y="5802947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EE12A63-23A1-412D-8383-E69991F348FD}"/>
              </a:ext>
            </a:extLst>
          </p:cNvPr>
          <p:cNvCxnSpPr>
            <a:cxnSpLocks/>
          </p:cNvCxnSpPr>
          <p:nvPr userDrawn="1"/>
        </p:nvCxnSpPr>
        <p:spPr>
          <a:xfrm>
            <a:off x="1391920" y="276692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E7A256-AB4B-466E-8E0B-C5BAEE9AE086}"/>
              </a:ext>
            </a:extLst>
          </p:cNvPr>
          <p:cNvCxnSpPr>
            <a:cxnSpLocks/>
          </p:cNvCxnSpPr>
          <p:nvPr userDrawn="1"/>
        </p:nvCxnSpPr>
        <p:spPr>
          <a:xfrm>
            <a:off x="1391920" y="3738607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795CB70-04BB-4063-AE67-0811CC8DAE2A}"/>
              </a:ext>
            </a:extLst>
          </p:cNvPr>
          <p:cNvCxnSpPr>
            <a:cxnSpLocks/>
          </p:cNvCxnSpPr>
          <p:nvPr userDrawn="1"/>
        </p:nvCxnSpPr>
        <p:spPr>
          <a:xfrm>
            <a:off x="1391920" y="470010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07CC071-9956-4EE0-A3BC-1B2AEDA5F717}"/>
              </a:ext>
            </a:extLst>
          </p:cNvPr>
          <p:cNvCxnSpPr>
            <a:cxnSpLocks/>
          </p:cNvCxnSpPr>
          <p:nvPr userDrawn="1"/>
        </p:nvCxnSpPr>
        <p:spPr>
          <a:xfrm>
            <a:off x="1391920" y="5661605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B01843B-9D53-4AD9-A0DF-38450CE6AA9C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78B09D6-6A06-4B59-9612-F15815AE122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4713DC9-22C1-484C-87D1-444A34BF4B5D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25FD187-5EC7-469E-BDFA-8AAAA9C2506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808039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2821-D465-4807-8669-14DF430C3D1D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0143F3-FB57-410B-A97E-C395F4B01BD0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1A6350-6C8F-4597-9D00-EEF3D0D1FA2C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CE3045-7A4E-4F50-AF38-F7B0777B26D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237089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1088293-6771-4A16-96B3-FDB53FD635DD}"/>
              </a:ext>
            </a:extLst>
          </p:cNvPr>
          <p:cNvSpPr/>
          <p:nvPr userDrawn="1"/>
        </p:nvSpPr>
        <p:spPr>
          <a:xfrm>
            <a:off x="4582185" y="0"/>
            <a:ext cx="760981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1" name="Picture 10" descr="Two people sitting at a table&#10;&#10;Description automatically generated">
            <a:extLst>
              <a:ext uri="{FF2B5EF4-FFF2-40B4-BE49-F238E27FC236}">
                <a16:creationId xmlns:a16="http://schemas.microsoft.com/office/drawing/2014/main" id="{2D8E55CA-5BEA-4527-A100-2024F0C4C0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4582183" cy="6858000"/>
          </a:xfrm>
          <a:custGeom>
            <a:avLst/>
            <a:gdLst>
              <a:gd name="connsiteX0" fmla="*/ 0 w 4582183"/>
              <a:gd name="connsiteY0" fmla="*/ 0 h 6858000"/>
              <a:gd name="connsiteX1" fmla="*/ 4582183 w 4582183"/>
              <a:gd name="connsiteY1" fmla="*/ 0 h 6858000"/>
              <a:gd name="connsiteX2" fmla="*/ 4582183 w 4582183"/>
              <a:gd name="connsiteY2" fmla="*/ 6858000 h 6858000"/>
              <a:gd name="connsiteX3" fmla="*/ 0 w 458218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82183" h="6858000">
                <a:moveTo>
                  <a:pt x="0" y="0"/>
                </a:moveTo>
                <a:lnTo>
                  <a:pt x="4582183" y="0"/>
                </a:lnTo>
                <a:lnTo>
                  <a:pt x="458218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365127"/>
            <a:ext cx="67183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2821-D465-4807-8669-14DF430C3D1D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0143F3-FB57-410B-A97E-C395F4B01BD0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1A6350-6C8F-4597-9D00-EEF3D0D1FA2C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CE3045-7A4E-4F50-AF38-F7B0777B26D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4" name="Rectangle 15">
            <a:extLst>
              <a:ext uri="{FF2B5EF4-FFF2-40B4-BE49-F238E27FC236}">
                <a16:creationId xmlns:a16="http://schemas.microsoft.com/office/drawing/2014/main" id="{CCC085DF-2F7C-4CE7-8AFE-25DA4ECA98D9}"/>
              </a:ext>
            </a:extLst>
          </p:cNvPr>
          <p:cNvSpPr/>
          <p:nvPr userDrawn="1"/>
        </p:nvSpPr>
        <p:spPr>
          <a:xfrm>
            <a:off x="495300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7EF7C376-5FE1-421D-AC3E-CC8A3955400F}"/>
              </a:ext>
            </a:extLst>
          </p:cNvPr>
          <p:cNvSpPr/>
          <p:nvPr userDrawn="1"/>
        </p:nvSpPr>
        <p:spPr>
          <a:xfrm flipH="1">
            <a:off x="1149758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02BDB4A-82CE-4FAC-98B7-87866D337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6721" y="2449200"/>
            <a:ext cx="6370859" cy="34605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62779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1FBB54F7-DF56-46DF-AB20-3DD3F4ABD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96619"/>
            <a:ext cx="12192000" cy="40647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B0FF00F-646F-4BB4-896E-DC7F25273843}"/>
              </a:ext>
            </a:extLst>
          </p:cNvPr>
          <p:cNvSpPr/>
          <p:nvPr userDrawn="1"/>
        </p:nvSpPr>
        <p:spPr>
          <a:xfrm>
            <a:off x="0" y="1396618"/>
            <a:ext cx="12192000" cy="406476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337CAE-BB7F-42A9-92DE-2133FA58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002634"/>
            <a:ext cx="11137900" cy="2852737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31268-3449-47EC-8584-83E899ED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2270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37CAE-BB7F-42A9-92DE-2133FA58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2002634"/>
            <a:ext cx="6377811" cy="2852737"/>
          </a:xfrm>
        </p:spPr>
        <p:txBody>
          <a:bodyPr anchor="ctr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31268-3449-47EC-8584-83E899ED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CE7B4B5-AC27-4DE7-9A3F-2DEC0D1B3E83}"/>
              </a:ext>
            </a:extLst>
          </p:cNvPr>
          <p:cNvGrpSpPr/>
          <p:nvPr userDrawn="1"/>
        </p:nvGrpSpPr>
        <p:grpSpPr>
          <a:xfrm>
            <a:off x="520700" y="1746123"/>
            <a:ext cx="1828800" cy="73152"/>
            <a:chOff x="85490" y="5421819"/>
            <a:chExt cx="9411633" cy="29550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72191FD-0CF0-4969-B92E-F90217E737E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F08A5F-E6CA-48E5-A864-D70CB0605FAF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886A2C1-2089-432C-8F25-85C76B8D23DB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5" name="Picture 14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CD7EF2CE-88A7-4195-AE5B-69D315B593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4729" y="0"/>
            <a:ext cx="48014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2668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2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1101702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41" y="366742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3158515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2423555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41" y="2423555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521532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4480368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41" y="4480368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311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9D31AE97-88F7-4A2F-B2F1-D0428D8D5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250723" y="0"/>
            <a:ext cx="3715473" cy="6858000"/>
          </a:xfrm>
          <a:custGeom>
            <a:avLst/>
            <a:gdLst>
              <a:gd name="connsiteX0" fmla="*/ 0 w 3715473"/>
              <a:gd name="connsiteY0" fmla="*/ 0 h 6858000"/>
              <a:gd name="connsiteX1" fmla="*/ 3715473 w 3715473"/>
              <a:gd name="connsiteY1" fmla="*/ 0 h 6858000"/>
              <a:gd name="connsiteX2" fmla="*/ 3715473 w 3715473"/>
              <a:gd name="connsiteY2" fmla="*/ 6858000 h 6858000"/>
              <a:gd name="connsiteX3" fmla="*/ 0 w 371547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5473" h="6858000">
                <a:moveTo>
                  <a:pt x="0" y="0"/>
                </a:moveTo>
                <a:lnTo>
                  <a:pt x="3715473" y="0"/>
                </a:lnTo>
                <a:lnTo>
                  <a:pt x="371547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4A70D-5CB5-4EA2-9003-33C4F5254E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0" y="365125"/>
            <a:ext cx="743110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08A7EC-9406-453E-B404-477E40E7A1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B8371F-F042-4A82-A7CB-C62CA2A5034B}"/>
              </a:ext>
            </a:extLst>
          </p:cNvPr>
          <p:cNvGrpSpPr/>
          <p:nvPr userDrawn="1"/>
        </p:nvGrpSpPr>
        <p:grpSpPr>
          <a:xfrm>
            <a:off x="520700" y="1879436"/>
            <a:ext cx="744220" cy="793115"/>
            <a:chOff x="520700" y="2152891"/>
            <a:chExt cx="919480" cy="9144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6139E2-738B-46F6-B13A-1851A084F546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54BF634C-0769-4E80-9FDB-508E040D56C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80131B9-0844-4F00-A41B-1E78FEBDF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91920" y="1879436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4C5F20EE-DC2A-440D-8B72-9865496C12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5310" y="1936587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AD43C7-3C1F-4BD2-9F70-1EFFD7379064}"/>
              </a:ext>
            </a:extLst>
          </p:cNvPr>
          <p:cNvGrpSpPr/>
          <p:nvPr userDrawn="1"/>
        </p:nvGrpSpPr>
        <p:grpSpPr>
          <a:xfrm>
            <a:off x="520700" y="2861300"/>
            <a:ext cx="744220" cy="793115"/>
            <a:chOff x="520700" y="2152891"/>
            <a:chExt cx="919480" cy="914400"/>
          </a:xfrm>
        </p:grpSpPr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68327E3D-06FF-4D07-890A-086FB05E3999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1C07A5C6-F155-4EAB-B9EA-CB420C04EEB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1DC8A98-ADA8-4C2F-9C01-BD8B50D0A7B4}"/>
              </a:ext>
            </a:extLst>
          </p:cNvPr>
          <p:cNvGrpSpPr/>
          <p:nvPr userDrawn="1"/>
        </p:nvGrpSpPr>
        <p:grpSpPr>
          <a:xfrm>
            <a:off x="520700" y="3822799"/>
            <a:ext cx="744220" cy="793115"/>
            <a:chOff x="520700" y="2152891"/>
            <a:chExt cx="919480" cy="914400"/>
          </a:xfrm>
        </p:grpSpPr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AD61FB68-4DA5-4D0A-BEE4-5963F349EF83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26" name="Rectangle 15">
              <a:extLst>
                <a:ext uri="{FF2B5EF4-FFF2-40B4-BE49-F238E27FC236}">
                  <a16:creationId xmlns:a16="http://schemas.microsoft.com/office/drawing/2014/main" id="{E58E4402-A6B6-4126-928F-4DD9AC8D3FAF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8C77C39-E854-4F2D-ADCD-4FAE77BBB362}"/>
              </a:ext>
            </a:extLst>
          </p:cNvPr>
          <p:cNvGrpSpPr/>
          <p:nvPr userDrawn="1"/>
        </p:nvGrpSpPr>
        <p:grpSpPr>
          <a:xfrm>
            <a:off x="520700" y="4784298"/>
            <a:ext cx="744220" cy="793115"/>
            <a:chOff x="520700" y="2152891"/>
            <a:chExt cx="919480" cy="914400"/>
          </a:xfrm>
        </p:grpSpPr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561987EB-90A3-4094-A404-6CB3A9B02F18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065B89EC-1459-419C-977E-3DA3CE030C3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CE6AB0A-CA06-46ED-B64F-E403674C7913}"/>
              </a:ext>
            </a:extLst>
          </p:cNvPr>
          <p:cNvGrpSpPr/>
          <p:nvPr userDrawn="1"/>
        </p:nvGrpSpPr>
        <p:grpSpPr>
          <a:xfrm>
            <a:off x="520700" y="5745797"/>
            <a:ext cx="744220" cy="793115"/>
            <a:chOff x="520700" y="2152891"/>
            <a:chExt cx="919480" cy="914400"/>
          </a:xfrm>
        </p:grpSpPr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DBDBD5D0-4B26-4184-9E97-9B55F4246F05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BFA2288F-93AF-46E1-A79A-7ED7AA9CF20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/>
            </a:p>
          </p:txBody>
        </p:sp>
      </p:grp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37AA991B-8B5C-4C9B-9A1B-A503AF32D0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91920" y="2861300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EE80A6A2-06A2-41B8-BE39-970323406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310" y="2918450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A5871AA4-CBD8-483C-BAC2-CC0CF238AE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91920" y="3822799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542B705B-93A4-45D9-901F-EF90E837A7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5310" y="3879949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4B83E4D6-A21B-4AC6-BD72-C905E3E93B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91920" y="4784298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ACDEEF47-FC5A-41D6-BDAA-DCF4BF1FF9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5310" y="4841448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E17CEA9-16D8-4348-AD88-AEE4AC9E33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91920" y="5745797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7E9BCE8-921B-4952-9B03-4D9DD9BFB2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5310" y="5802947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EE12A63-23A1-412D-8383-E69991F348FD}"/>
              </a:ext>
            </a:extLst>
          </p:cNvPr>
          <p:cNvCxnSpPr>
            <a:cxnSpLocks/>
          </p:cNvCxnSpPr>
          <p:nvPr userDrawn="1"/>
        </p:nvCxnSpPr>
        <p:spPr>
          <a:xfrm>
            <a:off x="1391918" y="276692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E7A256-AB4B-466E-8E0B-C5BAEE9AE086}"/>
              </a:ext>
            </a:extLst>
          </p:cNvPr>
          <p:cNvCxnSpPr>
            <a:cxnSpLocks/>
          </p:cNvCxnSpPr>
          <p:nvPr userDrawn="1"/>
        </p:nvCxnSpPr>
        <p:spPr>
          <a:xfrm>
            <a:off x="1391918" y="3738607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795CB70-04BB-4063-AE67-0811CC8DAE2A}"/>
              </a:ext>
            </a:extLst>
          </p:cNvPr>
          <p:cNvCxnSpPr>
            <a:cxnSpLocks/>
          </p:cNvCxnSpPr>
          <p:nvPr userDrawn="1"/>
        </p:nvCxnSpPr>
        <p:spPr>
          <a:xfrm>
            <a:off x="1391918" y="470010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07CC071-9956-4EE0-A3BC-1B2AEDA5F717}"/>
              </a:ext>
            </a:extLst>
          </p:cNvPr>
          <p:cNvCxnSpPr>
            <a:cxnSpLocks/>
          </p:cNvCxnSpPr>
          <p:nvPr userDrawn="1"/>
        </p:nvCxnSpPr>
        <p:spPr>
          <a:xfrm>
            <a:off x="1391918" y="5661605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B01843B-9D53-4AD9-A0DF-38450CE6AA9C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78B09D6-6A06-4B59-9612-F15815AE122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4713DC9-22C1-484C-87D1-444A34BF4B5D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25FD187-5EC7-469E-BDFA-8AAAA9C2506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349465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2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918822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41" y="366742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2381471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1859871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41" y="1829391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3844120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3353000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41" y="3292040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3E43FB3-2EBA-4791-B594-E88CCB85DCA9}"/>
              </a:ext>
            </a:extLst>
          </p:cNvPr>
          <p:cNvSpPr/>
          <p:nvPr userDrawn="1"/>
        </p:nvSpPr>
        <p:spPr>
          <a:xfrm>
            <a:off x="6834811" y="539820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93EE02EF-6A78-4DEC-8483-625D2C69F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6492" y="4846128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6AEF5450-37B4-4024-832A-189D79D481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3941" y="4846128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80446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2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70393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41" y="366742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192497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1587782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41" y="1587782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3146581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2809385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41" y="2809385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3E43FB3-2EBA-4791-B594-E88CCB85DCA9}"/>
              </a:ext>
            </a:extLst>
          </p:cNvPr>
          <p:cNvSpPr/>
          <p:nvPr userDrawn="1"/>
        </p:nvSpPr>
        <p:spPr>
          <a:xfrm>
            <a:off x="6834811" y="4368184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93EE02EF-6A78-4DEC-8483-625D2C69F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6492" y="4030988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6AEF5450-37B4-4024-832A-189D79D481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3941" y="4030988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E3321D1-5029-426C-9A32-AA374EA66C88}"/>
              </a:ext>
            </a:extLst>
          </p:cNvPr>
          <p:cNvSpPr/>
          <p:nvPr userDrawn="1"/>
        </p:nvSpPr>
        <p:spPr>
          <a:xfrm>
            <a:off x="6834811" y="5589789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4" name="Text Placeholder 20">
            <a:extLst>
              <a:ext uri="{FF2B5EF4-FFF2-40B4-BE49-F238E27FC236}">
                <a16:creationId xmlns:a16="http://schemas.microsoft.com/office/drawing/2014/main" id="{289F8350-449C-4C2D-92FC-CE0CA86D50B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76492" y="5252593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5" name="Text Placeholder 20">
            <a:extLst>
              <a:ext uri="{FF2B5EF4-FFF2-40B4-BE49-F238E27FC236}">
                <a16:creationId xmlns:a16="http://schemas.microsoft.com/office/drawing/2014/main" id="{718DA6E2-EE68-4588-A685-3E29D616B2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3941" y="5252593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653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2115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1337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559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1292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0514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230378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988822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1233833" y="1903604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0821307"/>
                <a:gd name="adj2" fmla="val 2126223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831770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5026053" y="1903604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 sz="1800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F5666CA-82BB-49A0-91A3-0E479B28D92A}"/>
              </a:ext>
            </a:extLst>
          </p:cNvPr>
          <p:cNvGrpSpPr/>
          <p:nvPr userDrawn="1"/>
        </p:nvGrpSpPr>
        <p:grpSpPr>
          <a:xfrm>
            <a:off x="8818273" y="1903604"/>
            <a:ext cx="2139897" cy="2139897"/>
            <a:chOff x="8029619" y="1903602"/>
            <a:chExt cx="2139897" cy="2139897"/>
          </a:xfrm>
        </p:grpSpPr>
        <p:sp>
          <p:nvSpPr>
            <p:cNvPr id="57" name="Arc 56">
              <a:extLst>
                <a:ext uri="{FF2B5EF4-FFF2-40B4-BE49-F238E27FC236}">
                  <a16:creationId xmlns:a16="http://schemas.microsoft.com/office/drawing/2014/main" id="{A8EE1277-FE82-4822-A85D-B1B0E940EA07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11169507"/>
                <a:gd name="adj2" fmla="val 146547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A6455670-9200-4075-8FD1-258D64C3BC53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21586752"/>
                <a:gd name="adj2" fmla="val 10460422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1615457" y="2764342"/>
            <a:ext cx="3697155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3" name="Arrow: Right 8">
            <a:extLst>
              <a:ext uri="{FF2B5EF4-FFF2-40B4-BE49-F238E27FC236}">
                <a16:creationId xmlns:a16="http://schemas.microsoft.com/office/drawing/2014/main" id="{5A9335EB-FE49-4C21-A240-0BCAB52E2FBA}"/>
              </a:ext>
            </a:extLst>
          </p:cNvPr>
          <p:cNvSpPr/>
          <p:nvPr userDrawn="1"/>
        </p:nvSpPr>
        <p:spPr>
          <a:xfrm>
            <a:off x="5411033" y="2764342"/>
            <a:ext cx="3697155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0320410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8CD735-7E9B-475A-80E2-0530E4F646A2}"/>
              </a:ext>
            </a:extLst>
          </p:cNvPr>
          <p:cNvGrpSpPr/>
          <p:nvPr userDrawn="1"/>
        </p:nvGrpSpPr>
        <p:grpSpPr>
          <a:xfrm>
            <a:off x="520701" y="1903604"/>
            <a:ext cx="2139897" cy="2139897"/>
            <a:chOff x="520700" y="1903602"/>
            <a:chExt cx="2139897" cy="2139897"/>
          </a:xfrm>
        </p:grpSpPr>
        <p:sp>
          <p:nvSpPr>
            <p:cNvPr id="7" name="Arc 6">
              <a:extLst>
                <a:ext uri="{FF2B5EF4-FFF2-40B4-BE49-F238E27FC236}">
                  <a16:creationId xmlns:a16="http://schemas.microsoft.com/office/drawing/2014/main" id="{493DC188-5367-4EDC-9171-C6332D7031C4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10080820"/>
                <a:gd name="adj2" fmla="val 21286878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42EFB4E2-E6DC-481F-9CD7-B41C1C8C7626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373939"/>
                <a:gd name="adj2" fmla="val 9969063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3524269" y="1903604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1152410"/>
                <a:gd name="adj2" fmla="val 21262236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46315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6527837" y="1903604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1588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1515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24269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27837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5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4594216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759778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06680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406908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2" name="Arrow: Right 8">
            <a:extLst>
              <a:ext uri="{FF2B5EF4-FFF2-40B4-BE49-F238E27FC236}">
                <a16:creationId xmlns:a16="http://schemas.microsoft.com/office/drawing/2014/main" id="{50D401B0-9438-4DA9-9487-79C8089E19A9}"/>
              </a:ext>
            </a:extLst>
          </p:cNvPr>
          <p:cNvSpPr/>
          <p:nvPr userDrawn="1"/>
        </p:nvSpPr>
        <p:spPr>
          <a:xfrm>
            <a:off x="707136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3473562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493DC188-5367-4EDC-9171-C6332D7031C4}"/>
              </a:ext>
            </a:extLst>
          </p:cNvPr>
          <p:cNvSpPr/>
          <p:nvPr userDrawn="1"/>
        </p:nvSpPr>
        <p:spPr>
          <a:xfrm>
            <a:off x="520701" y="1903604"/>
            <a:ext cx="2139897" cy="2139897"/>
          </a:xfrm>
          <a:prstGeom prst="arc">
            <a:avLst>
              <a:gd name="adj1" fmla="val 10080820"/>
              <a:gd name="adj2" fmla="val 21286878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42EFB4E2-E6DC-481F-9CD7-B41C1C8C7626}"/>
              </a:ext>
            </a:extLst>
          </p:cNvPr>
          <p:cNvSpPr/>
          <p:nvPr userDrawn="1"/>
        </p:nvSpPr>
        <p:spPr>
          <a:xfrm>
            <a:off x="520701" y="1903604"/>
            <a:ext cx="2139897" cy="2139897"/>
          </a:xfrm>
          <a:prstGeom prst="arc">
            <a:avLst>
              <a:gd name="adj1" fmla="val 373939"/>
              <a:gd name="adj2" fmla="val 9969063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350587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95B21021-F56D-4DE0-9556-7A88E088DE82}"/>
              </a:ext>
            </a:extLst>
          </p:cNvPr>
          <p:cNvSpPr/>
          <p:nvPr userDrawn="1"/>
        </p:nvSpPr>
        <p:spPr>
          <a:xfrm>
            <a:off x="2762226" y="1903604"/>
            <a:ext cx="2139897" cy="2139897"/>
          </a:xfrm>
          <a:prstGeom prst="arc">
            <a:avLst>
              <a:gd name="adj1" fmla="val 11152410"/>
              <a:gd name="adj2" fmla="val 21262236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FF2A0780-162E-4178-8D44-C087E927A225}"/>
              </a:ext>
            </a:extLst>
          </p:cNvPr>
          <p:cNvSpPr/>
          <p:nvPr userDrawn="1"/>
        </p:nvSpPr>
        <p:spPr>
          <a:xfrm>
            <a:off x="2762226" y="1903604"/>
            <a:ext cx="2139897" cy="2139897"/>
          </a:xfrm>
          <a:prstGeom prst="arc">
            <a:avLst>
              <a:gd name="adj1" fmla="val 350464"/>
              <a:gd name="adj2" fmla="val 10463156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41" name="Arrow: Right 8">
            <a:extLst>
              <a:ext uri="{FF2B5EF4-FFF2-40B4-BE49-F238E27FC236}">
                <a16:creationId xmlns:a16="http://schemas.microsoft.com/office/drawing/2014/main" id="{773A68BC-F081-4B3D-B7C7-F037E3A67F28}"/>
              </a:ext>
            </a:extLst>
          </p:cNvPr>
          <p:cNvSpPr/>
          <p:nvPr userDrawn="1"/>
        </p:nvSpPr>
        <p:spPr>
          <a:xfrm>
            <a:off x="3653037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5FA2D6F3-CF09-4BE0-994B-0318B344227F}"/>
              </a:ext>
            </a:extLst>
          </p:cNvPr>
          <p:cNvSpPr/>
          <p:nvPr userDrawn="1"/>
        </p:nvSpPr>
        <p:spPr>
          <a:xfrm>
            <a:off x="5003753" y="1903604"/>
            <a:ext cx="2139897" cy="2139897"/>
          </a:xfrm>
          <a:prstGeom prst="arc">
            <a:avLst>
              <a:gd name="adj1" fmla="val 11169507"/>
              <a:gd name="adj2" fmla="val 21304215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6" name="Arc 45">
            <a:extLst>
              <a:ext uri="{FF2B5EF4-FFF2-40B4-BE49-F238E27FC236}">
                <a16:creationId xmlns:a16="http://schemas.microsoft.com/office/drawing/2014/main" id="{9CBFA4DF-3824-4C0B-B38C-1ABCECDE4DB6}"/>
              </a:ext>
            </a:extLst>
          </p:cNvPr>
          <p:cNvSpPr/>
          <p:nvPr userDrawn="1"/>
        </p:nvSpPr>
        <p:spPr>
          <a:xfrm>
            <a:off x="5003753" y="1903604"/>
            <a:ext cx="2139897" cy="2139897"/>
          </a:xfrm>
          <a:prstGeom prst="arc">
            <a:avLst>
              <a:gd name="adj1" fmla="val 471098"/>
              <a:gd name="adj2" fmla="val 10441694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7" name="Arrow: Right 8">
            <a:extLst>
              <a:ext uri="{FF2B5EF4-FFF2-40B4-BE49-F238E27FC236}">
                <a16:creationId xmlns:a16="http://schemas.microsoft.com/office/drawing/2014/main" id="{BB6C3DB8-880F-4DB8-B2F6-337F583E62FE}"/>
              </a:ext>
            </a:extLst>
          </p:cNvPr>
          <p:cNvSpPr/>
          <p:nvPr userDrawn="1"/>
        </p:nvSpPr>
        <p:spPr>
          <a:xfrm>
            <a:off x="5856484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8" name="Arc 47">
            <a:extLst>
              <a:ext uri="{FF2B5EF4-FFF2-40B4-BE49-F238E27FC236}">
                <a16:creationId xmlns:a16="http://schemas.microsoft.com/office/drawing/2014/main" id="{D8A565E5-4ADC-46DD-A654-7BA94F97D916}"/>
              </a:ext>
            </a:extLst>
          </p:cNvPr>
          <p:cNvSpPr/>
          <p:nvPr userDrawn="1"/>
        </p:nvSpPr>
        <p:spPr>
          <a:xfrm>
            <a:off x="7245277" y="1903604"/>
            <a:ext cx="2139897" cy="2139897"/>
          </a:xfrm>
          <a:prstGeom prst="arc">
            <a:avLst>
              <a:gd name="adj1" fmla="val 11109170"/>
              <a:gd name="adj2" fmla="val 21204980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7CD4BCCD-EA8A-4382-B873-E1769F7F58B3}"/>
              </a:ext>
            </a:extLst>
          </p:cNvPr>
          <p:cNvSpPr/>
          <p:nvPr userDrawn="1"/>
        </p:nvSpPr>
        <p:spPr>
          <a:xfrm>
            <a:off x="7245277" y="1903604"/>
            <a:ext cx="2139897" cy="2139897"/>
          </a:xfrm>
          <a:prstGeom prst="arc">
            <a:avLst>
              <a:gd name="adj1" fmla="val 349057"/>
              <a:gd name="adj2" fmla="val 1044865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56" name="Arrow: Right 8">
            <a:extLst>
              <a:ext uri="{FF2B5EF4-FFF2-40B4-BE49-F238E27FC236}">
                <a16:creationId xmlns:a16="http://schemas.microsoft.com/office/drawing/2014/main" id="{9EBF435E-87F3-4EF4-B669-6035B3A1880E}"/>
              </a:ext>
            </a:extLst>
          </p:cNvPr>
          <p:cNvSpPr/>
          <p:nvPr userDrawn="1"/>
        </p:nvSpPr>
        <p:spPr>
          <a:xfrm>
            <a:off x="8136088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9545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071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667F4ED1-0A00-45A4-8E1F-9AFC0468DB9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3259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62226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3753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7878DBEA-7979-481E-9B73-D30CA615B6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45277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5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3832173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7369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82E0D59-139E-4EB9-9B08-B004BCD376D2}"/>
              </a:ext>
            </a:extLst>
          </p:cNvPr>
          <p:cNvCxnSpPr>
            <a:cxnSpLocks/>
          </p:cNvCxnSpPr>
          <p:nvPr userDrawn="1"/>
        </p:nvCxnSpPr>
        <p:spPr>
          <a:xfrm flipH="1">
            <a:off x="831522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964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54692DDE-8E18-4393-BAA0-EEAF401094A3}"/>
              </a:ext>
            </a:extLst>
          </p:cNvPr>
          <p:cNvSpPr/>
          <p:nvPr userDrawn="1"/>
        </p:nvSpPr>
        <p:spPr>
          <a:xfrm>
            <a:off x="482195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428C0528-C3D0-4014-9B8E-4B2177F3290F}"/>
              </a:ext>
            </a:extLst>
          </p:cNvPr>
          <p:cNvSpPr/>
          <p:nvPr userDrawn="1"/>
        </p:nvSpPr>
        <p:spPr>
          <a:xfrm>
            <a:off x="1724288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ADD4E0DD-C593-47CC-9335-430F6B5E6C65}"/>
              </a:ext>
            </a:extLst>
          </p:cNvPr>
          <p:cNvSpPr/>
          <p:nvPr userDrawn="1"/>
        </p:nvSpPr>
        <p:spPr>
          <a:xfrm>
            <a:off x="2966383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8" name="Parallelogram 37">
            <a:extLst>
              <a:ext uri="{FF2B5EF4-FFF2-40B4-BE49-F238E27FC236}">
                <a16:creationId xmlns:a16="http://schemas.microsoft.com/office/drawing/2014/main" id="{7A87CE15-89C2-4758-A6EB-DBB50A2B133B}"/>
              </a:ext>
            </a:extLst>
          </p:cNvPr>
          <p:cNvSpPr/>
          <p:nvPr userDrawn="1"/>
        </p:nvSpPr>
        <p:spPr>
          <a:xfrm>
            <a:off x="4208476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0" name="Parallelogram 39">
            <a:extLst>
              <a:ext uri="{FF2B5EF4-FFF2-40B4-BE49-F238E27FC236}">
                <a16:creationId xmlns:a16="http://schemas.microsoft.com/office/drawing/2014/main" id="{47536C97-010F-4905-B90F-F3297AEF464F}"/>
              </a:ext>
            </a:extLst>
          </p:cNvPr>
          <p:cNvSpPr/>
          <p:nvPr userDrawn="1"/>
        </p:nvSpPr>
        <p:spPr>
          <a:xfrm>
            <a:off x="5450571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0BFAD1D6-B09A-40D8-AAAD-AB6D68EA9F4A}"/>
              </a:ext>
            </a:extLst>
          </p:cNvPr>
          <p:cNvSpPr/>
          <p:nvPr userDrawn="1"/>
        </p:nvSpPr>
        <p:spPr>
          <a:xfrm>
            <a:off x="6692664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A07A4C47-E0A6-4585-83AA-690D8B9D4973}"/>
              </a:ext>
            </a:extLst>
          </p:cNvPr>
          <p:cNvSpPr/>
          <p:nvPr userDrawn="1"/>
        </p:nvSpPr>
        <p:spPr>
          <a:xfrm>
            <a:off x="7934759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4" name="Parallelogram 43">
            <a:extLst>
              <a:ext uri="{FF2B5EF4-FFF2-40B4-BE49-F238E27FC236}">
                <a16:creationId xmlns:a16="http://schemas.microsoft.com/office/drawing/2014/main" id="{E8A95459-78A4-4D93-B6BF-FE8DE7321626}"/>
              </a:ext>
            </a:extLst>
          </p:cNvPr>
          <p:cNvSpPr/>
          <p:nvPr userDrawn="1"/>
        </p:nvSpPr>
        <p:spPr>
          <a:xfrm>
            <a:off x="9176852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80" name="Parallelogram 79">
            <a:extLst>
              <a:ext uri="{FF2B5EF4-FFF2-40B4-BE49-F238E27FC236}">
                <a16:creationId xmlns:a16="http://schemas.microsoft.com/office/drawing/2014/main" id="{73D0C8F0-5E5B-45B0-87E0-652B0F6AFA6F}"/>
              </a:ext>
            </a:extLst>
          </p:cNvPr>
          <p:cNvSpPr/>
          <p:nvPr userDrawn="1"/>
        </p:nvSpPr>
        <p:spPr>
          <a:xfrm>
            <a:off x="10418947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052B8FFD-4438-40D0-A9C6-C55C2B3D9FAB}"/>
              </a:ext>
            </a:extLst>
          </p:cNvPr>
          <p:cNvSpPr/>
          <p:nvPr userDrawn="1"/>
        </p:nvSpPr>
        <p:spPr>
          <a:xfrm>
            <a:off x="1" y="1874520"/>
            <a:ext cx="530964" cy="360680"/>
          </a:xfrm>
          <a:custGeom>
            <a:avLst/>
            <a:gdLst>
              <a:gd name="connsiteX0" fmla="*/ 0 w 530964"/>
              <a:gd name="connsiteY0" fmla="*/ 0 h 360680"/>
              <a:gd name="connsiteX1" fmla="*/ 530964 w 530964"/>
              <a:gd name="connsiteY1" fmla="*/ 0 h 360680"/>
              <a:gd name="connsiteX2" fmla="*/ 440794 w 530964"/>
              <a:gd name="connsiteY2" fmla="*/ 360680 h 360680"/>
              <a:gd name="connsiteX3" fmla="*/ 0 w 530964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4" h="360680">
                <a:moveTo>
                  <a:pt x="0" y="0"/>
                </a:moveTo>
                <a:lnTo>
                  <a:pt x="530964" y="0"/>
                </a:lnTo>
                <a:lnTo>
                  <a:pt x="440794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9F8236E-F46A-4EC3-B302-7A01BC6DEEC2}"/>
              </a:ext>
            </a:extLst>
          </p:cNvPr>
          <p:cNvSpPr/>
          <p:nvPr userDrawn="1"/>
        </p:nvSpPr>
        <p:spPr>
          <a:xfrm>
            <a:off x="11661037" y="1874520"/>
            <a:ext cx="530963" cy="360680"/>
          </a:xfrm>
          <a:custGeom>
            <a:avLst/>
            <a:gdLst>
              <a:gd name="connsiteX0" fmla="*/ 90170 w 530963"/>
              <a:gd name="connsiteY0" fmla="*/ 0 h 360680"/>
              <a:gd name="connsiteX1" fmla="*/ 530963 w 530963"/>
              <a:gd name="connsiteY1" fmla="*/ 0 h 360680"/>
              <a:gd name="connsiteX2" fmla="*/ 530963 w 530963"/>
              <a:gd name="connsiteY2" fmla="*/ 360680 h 360680"/>
              <a:gd name="connsiteX3" fmla="*/ 0 w 530963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3" h="360680">
                <a:moveTo>
                  <a:pt x="90170" y="0"/>
                </a:moveTo>
                <a:lnTo>
                  <a:pt x="530963" y="0"/>
                </a:lnTo>
                <a:lnTo>
                  <a:pt x="530963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3928" y="1874520"/>
            <a:ext cx="1087392" cy="360680"/>
          </a:xfrm>
          <a:noFill/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825652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067747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309840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4" name="Text Placeholder 11">
            <a:extLst>
              <a:ext uri="{FF2B5EF4-FFF2-40B4-BE49-F238E27FC236}">
                <a16:creationId xmlns:a16="http://schemas.microsoft.com/office/drawing/2014/main" id="{B1F59F6D-A456-4FB3-AF7C-6EEF30B07580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551935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5" name="Text Placeholder 11">
            <a:extLst>
              <a:ext uri="{FF2B5EF4-FFF2-40B4-BE49-F238E27FC236}">
                <a16:creationId xmlns:a16="http://schemas.microsoft.com/office/drawing/2014/main" id="{D3368D37-0BE1-4151-84D7-7E90FE4FA7F9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94028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DC8CE767-0D4B-477D-8748-DAB458F64A1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8036123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4550DA06-2D1B-40D3-9AC0-5C6B7AE2F8D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9278216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4D64A8-C48C-4BA2-B4EB-EC1395CFBFAF}"/>
              </a:ext>
            </a:extLst>
          </p:cNvPr>
          <p:cNvCxnSpPr/>
          <p:nvPr userDrawn="1"/>
        </p:nvCxnSpPr>
        <p:spPr>
          <a:xfrm>
            <a:off x="0" y="2664459"/>
            <a:ext cx="12192000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Placeholder 11">
            <a:extLst>
              <a:ext uri="{FF2B5EF4-FFF2-40B4-BE49-F238E27FC236}">
                <a16:creationId xmlns:a16="http://schemas.microsoft.com/office/drawing/2014/main" id="{9B6B2DA0-674F-4876-B749-F9F6654ED6C9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851735" y="2556737"/>
            <a:ext cx="488532" cy="215444"/>
          </a:xfrm>
          <a:solidFill>
            <a:schemeClr val="bg1"/>
          </a:solidFill>
        </p:spPr>
        <p:txBody>
          <a:bodyPr wrap="none" lIns="91440" tIns="0" rIns="9144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829301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8041" y="5831521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81" name="Text Placeholder 11">
            <a:extLst>
              <a:ext uri="{FF2B5EF4-FFF2-40B4-BE49-F238E27FC236}">
                <a16:creationId xmlns:a16="http://schemas.microsoft.com/office/drawing/2014/main" id="{3E4FB6FC-3D8B-482F-B69D-5BA27682D1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20311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32923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700" y="2270326"/>
            <a:ext cx="265176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647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595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19540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422069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041" y="5424289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2F65CE9-0AA8-46E3-9C61-A205142A6B66}"/>
              </a:ext>
            </a:extLst>
          </p:cNvPr>
          <p:cNvSpPr/>
          <p:nvPr userDrawn="1"/>
        </p:nvSpPr>
        <p:spPr>
          <a:xfrm>
            <a:off x="0" y="1827244"/>
            <a:ext cx="12192000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B5D48AC6-4A34-4392-BB8B-0A53D8A0A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041" y="1829464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375962-7421-4021-BF93-21883DD0AFBE}"/>
              </a:ext>
            </a:extLst>
          </p:cNvPr>
          <p:cNvCxnSpPr>
            <a:cxnSpLocks/>
          </p:cNvCxnSpPr>
          <p:nvPr userDrawn="1"/>
        </p:nvCxnSpPr>
        <p:spPr>
          <a:xfrm flipH="1">
            <a:off x="3263053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0BC7B37-994C-4F34-B4C9-527F7EC20F71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1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CFF737B-1B1B-4795-8DC7-391F3B183589}"/>
              </a:ext>
            </a:extLst>
          </p:cNvPr>
          <p:cNvCxnSpPr>
            <a:cxnSpLocks/>
          </p:cNvCxnSpPr>
          <p:nvPr userDrawn="1"/>
        </p:nvCxnSpPr>
        <p:spPr>
          <a:xfrm flipH="1">
            <a:off x="8928947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AE791AEA-40AD-411F-8591-00BF36D5A2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699" y="5833745"/>
            <a:ext cx="365760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3EFC4851-E58D-4481-885F-454D4A8165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199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47078168-E22A-48A7-98DF-B7057442E1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13700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CF50D3-C5E2-424E-B217-9CF96B84995D}"/>
              </a:ext>
            </a:extLst>
          </p:cNvPr>
          <p:cNvCxnSpPr>
            <a:cxnSpLocks/>
          </p:cNvCxnSpPr>
          <p:nvPr userDrawn="1"/>
        </p:nvCxnSpPr>
        <p:spPr>
          <a:xfrm flipH="1">
            <a:off x="42227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A75C15F-35F4-4557-AFF3-406399507C7F}"/>
              </a:ext>
            </a:extLst>
          </p:cNvPr>
          <p:cNvCxnSpPr>
            <a:cxnSpLocks/>
          </p:cNvCxnSpPr>
          <p:nvPr userDrawn="1"/>
        </p:nvCxnSpPr>
        <p:spPr>
          <a:xfrm flipH="1">
            <a:off x="79692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B546578-8DE0-49E5-A215-70BB0C4129A2}"/>
              </a:ext>
            </a:extLst>
          </p:cNvPr>
          <p:cNvCxnSpPr>
            <a:cxnSpLocks/>
          </p:cNvCxnSpPr>
          <p:nvPr userDrawn="1"/>
        </p:nvCxnSpPr>
        <p:spPr>
          <a:xfrm>
            <a:off x="0" y="2970503"/>
            <a:ext cx="12192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D566B3A0-A6A9-4D90-B478-8D539D26E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070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E7D11FB8-7971-437B-9EA2-4A5637C164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25589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EA292649-C878-45CC-9616-C0FF6D1E37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048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63EDEFD3-B7F5-4C8B-862E-BD72843F14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35371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70B46E1D-E215-462A-B948-40BC98D9A5C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026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6CF0F45F-628F-41D2-BE24-13E38FEA66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45148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A05FFC-CB67-4DDE-B277-82EAA05C4494}"/>
              </a:ext>
            </a:extLst>
          </p:cNvPr>
          <p:cNvCxnSpPr>
            <a:cxnSpLocks/>
          </p:cNvCxnSpPr>
          <p:nvPr userDrawn="1"/>
        </p:nvCxnSpPr>
        <p:spPr>
          <a:xfrm>
            <a:off x="228622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F1926D0-A727-4D31-8824-A6284B1A03D8}"/>
              </a:ext>
            </a:extLst>
          </p:cNvPr>
          <p:cNvCxnSpPr>
            <a:cxnSpLocks/>
          </p:cNvCxnSpPr>
          <p:nvPr userDrawn="1"/>
        </p:nvCxnSpPr>
        <p:spPr>
          <a:xfrm>
            <a:off x="419111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00C79E0-99CE-4048-AFDA-ECE8092FA33E}"/>
              </a:ext>
            </a:extLst>
          </p:cNvPr>
          <p:cNvCxnSpPr>
            <a:cxnSpLocks/>
          </p:cNvCxnSpPr>
          <p:nvPr userDrawn="1"/>
        </p:nvCxnSpPr>
        <p:spPr>
          <a:xfrm>
            <a:off x="609600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619DDB3-9A57-4903-868F-D7C98470EEC5}"/>
              </a:ext>
            </a:extLst>
          </p:cNvPr>
          <p:cNvCxnSpPr>
            <a:cxnSpLocks/>
          </p:cNvCxnSpPr>
          <p:nvPr userDrawn="1"/>
        </p:nvCxnSpPr>
        <p:spPr>
          <a:xfrm>
            <a:off x="800089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178D462-B5D3-4695-AAF1-8556BCD25D16}"/>
              </a:ext>
            </a:extLst>
          </p:cNvPr>
          <p:cNvCxnSpPr>
            <a:cxnSpLocks/>
          </p:cNvCxnSpPr>
          <p:nvPr userDrawn="1"/>
        </p:nvCxnSpPr>
        <p:spPr>
          <a:xfrm>
            <a:off x="9905780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8FDEF4-043D-41E9-9137-4C93C43CB8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7526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14F185F6-398C-446E-BBEE-7E0A66FB4BA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2455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ED56AE80-3C7D-43A2-9A7D-85200B3081D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32944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CBEC6DB8-8161-4D2E-8CDD-337081A298B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3433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BD6F564F-58A5-405A-A76F-6928617870D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3922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86F62A9C-4A83-4663-A752-B95A698A88E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044113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654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365127"/>
            <a:ext cx="63373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C3C6A15-1E0F-435C-9F8D-D33A503BEF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64729" y="0"/>
            <a:ext cx="4801467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25923D1-16AF-4D35-9545-20F311021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9F8B0E-60EF-4612-8299-9B64C43A7B8F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1DA7B5-586D-487B-90B1-E0D23111B7E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A4FDF0-6D38-4AFF-AD4D-029375BDB96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5F6F31-48DF-4976-B60D-70E84125998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152054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365127"/>
            <a:ext cx="63373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C3C6A15-1E0F-435C-9F8D-D33A503BEF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64729" y="0"/>
            <a:ext cx="4801467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25923D1-16AF-4D35-9545-20F311021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9F8B0E-60EF-4612-8299-9B64C43A7B8F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1DA7B5-586D-487B-90B1-E0D23111B7E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A4FDF0-6D38-4AFF-AD4D-029375BDB96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5F6F31-48DF-4976-B60D-70E84125998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19EF6A-522C-4192-B1E4-F3DD0D83B5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0701" y="1831693"/>
            <a:ext cx="6337300" cy="4362732"/>
          </a:xfrm>
        </p:spPr>
        <p:txBody>
          <a:bodyPr/>
          <a:lstStyle>
            <a:lvl1pPr marL="285744" indent="-285744">
              <a:defRPr/>
            </a:lvl1pPr>
            <a:lvl2pPr marL="796905" indent="-339717">
              <a:buFont typeface="Calibri" panose="020F0502020204030204" pitchFamily="34" charset="0"/>
              <a:buChar char="–"/>
              <a:defRPr/>
            </a:lvl2pPr>
            <a:lvl3pPr marL="1142971" indent="-228594">
              <a:buFont typeface="Wingdings" panose="05000000000000000000" pitchFamily="2" charset="2"/>
              <a:buChar char="§"/>
              <a:defRPr/>
            </a:lvl3pPr>
            <a:lvl4pPr marL="1600160" indent="-228594">
              <a:buFont typeface="Calibri" panose="020F050202020403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3299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6F9F4D2F-0DB0-45EC-9C92-972C53BA08C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7576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E936245-F3C0-4A86-AADB-647161A4C1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81886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7" name="Picture Placeholder 24">
            <a:extLst>
              <a:ext uri="{FF2B5EF4-FFF2-40B4-BE49-F238E27FC236}">
                <a16:creationId xmlns:a16="http://schemas.microsoft.com/office/drawing/2014/main" id="{5648AE04-1998-4E1B-86AE-E25EDC82F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13080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BFF312B1-46AA-46C7-A5D7-7B71CD37B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444278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2ED87D5-800D-4CDE-B1E5-3B3CD05FD5E3}"/>
              </a:ext>
            </a:extLst>
          </p:cNvPr>
          <p:cNvGrpSpPr/>
          <p:nvPr/>
        </p:nvGrpSpPr>
        <p:grpSpPr>
          <a:xfrm>
            <a:off x="771216" y="1602200"/>
            <a:ext cx="2155981" cy="1630582"/>
            <a:chOff x="520700" y="1690687"/>
            <a:chExt cx="2657013" cy="1865377"/>
          </a:xfrm>
        </p:grpSpPr>
        <p:sp>
          <p:nvSpPr>
            <p:cNvPr id="8" name="Rectangle 15">
              <a:extLst>
                <a:ext uri="{FF2B5EF4-FFF2-40B4-BE49-F238E27FC236}">
                  <a16:creationId xmlns:a16="http://schemas.microsoft.com/office/drawing/2014/main" id="{E0A4B861-3CCD-479F-A769-C7581BF17FC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2E040F5E-E51C-48F0-89AF-FB0634336195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2293EE-99A5-480A-BE50-9C50E3795B75}"/>
              </a:ext>
            </a:extLst>
          </p:cNvPr>
          <p:cNvGrpSpPr/>
          <p:nvPr/>
        </p:nvGrpSpPr>
        <p:grpSpPr>
          <a:xfrm>
            <a:off x="3602412" y="1602200"/>
            <a:ext cx="2155981" cy="1630582"/>
            <a:chOff x="520700" y="1690687"/>
            <a:chExt cx="2657013" cy="1865377"/>
          </a:xfrm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42809CFB-A1DA-40ED-BEEF-ED6364AB7B2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14AE877E-70B3-46C5-A8B9-92556B7B102D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71D827-4F9A-4E2F-9FB5-20786D313B02}"/>
              </a:ext>
            </a:extLst>
          </p:cNvPr>
          <p:cNvGrpSpPr/>
          <p:nvPr/>
        </p:nvGrpSpPr>
        <p:grpSpPr>
          <a:xfrm>
            <a:off x="6433607" y="1602200"/>
            <a:ext cx="2155981" cy="1630582"/>
            <a:chOff x="520700" y="1690687"/>
            <a:chExt cx="2657013" cy="1865377"/>
          </a:xfrm>
        </p:grpSpPr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899B92F3-B50D-447E-A143-74B1F2309F7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A1B448A3-F3AE-42B0-891E-DD57BD4F3737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246F6B0-C8C2-4835-A97C-50106DFE8AE5}"/>
              </a:ext>
            </a:extLst>
          </p:cNvPr>
          <p:cNvGrpSpPr/>
          <p:nvPr/>
        </p:nvGrpSpPr>
        <p:grpSpPr>
          <a:xfrm>
            <a:off x="9264804" y="1602200"/>
            <a:ext cx="2155981" cy="1630582"/>
            <a:chOff x="520700" y="1690687"/>
            <a:chExt cx="2657013" cy="1865377"/>
          </a:xfrm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5849724A-F06C-4F30-9A4B-C11A5A2A63B8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2F57ED01-7FB0-4F1A-8FD5-BA9000DB7011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61417F7-7F2D-41F7-B366-81B40E84E6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699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1BFAED8F-DA3D-4FA6-8BEE-76ACAFDFA0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1896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339FFE38-8122-4C03-86CF-A68A617233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3091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6" name="Text Placeholder 31">
            <a:extLst>
              <a:ext uri="{FF2B5EF4-FFF2-40B4-BE49-F238E27FC236}">
                <a16:creationId xmlns:a16="http://schemas.microsoft.com/office/drawing/2014/main" id="{DB25D3D9-0793-4B7A-809C-F3BCEB6C5F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4288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7" name="Picture Placeholder 24">
            <a:extLst>
              <a:ext uri="{FF2B5EF4-FFF2-40B4-BE49-F238E27FC236}">
                <a16:creationId xmlns:a16="http://schemas.microsoft.com/office/drawing/2014/main" id="{59D01AD3-CF5A-4E3A-BAA9-1C4E15A3362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44906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38" name="Picture Placeholder 24">
            <a:extLst>
              <a:ext uri="{FF2B5EF4-FFF2-40B4-BE49-F238E27FC236}">
                <a16:creationId xmlns:a16="http://schemas.microsoft.com/office/drawing/2014/main" id="{D2218851-AB69-4A3D-A5E6-8B5A1B6E2FC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79216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07ADD67E-2BCA-4467-9350-D5BD292F40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10411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9CC4A5D-E51B-4F0A-AF14-DF3F7D8ED6F5}"/>
              </a:ext>
            </a:extLst>
          </p:cNvPr>
          <p:cNvGrpSpPr/>
          <p:nvPr userDrawn="1"/>
        </p:nvGrpSpPr>
        <p:grpSpPr>
          <a:xfrm>
            <a:off x="2168547" y="4188084"/>
            <a:ext cx="2155981" cy="1630582"/>
            <a:chOff x="520700" y="1690687"/>
            <a:chExt cx="2657013" cy="1865377"/>
          </a:xfrm>
        </p:grpSpPr>
        <p:sp>
          <p:nvSpPr>
            <p:cNvPr id="41" name="Rectangle 15">
              <a:extLst>
                <a:ext uri="{FF2B5EF4-FFF2-40B4-BE49-F238E27FC236}">
                  <a16:creationId xmlns:a16="http://schemas.microsoft.com/office/drawing/2014/main" id="{8DBBE19E-9085-42FD-A20C-38055745A59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89910649-E926-4150-95CD-E41CBF06DB22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E9C124D-2629-4D7A-BDC8-07D79018580D}"/>
              </a:ext>
            </a:extLst>
          </p:cNvPr>
          <p:cNvGrpSpPr/>
          <p:nvPr userDrawn="1"/>
        </p:nvGrpSpPr>
        <p:grpSpPr>
          <a:xfrm>
            <a:off x="4999742" y="4188084"/>
            <a:ext cx="2155981" cy="1630582"/>
            <a:chOff x="520700" y="1690687"/>
            <a:chExt cx="2657013" cy="1865377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F427AD74-C579-47AA-80EC-31564E4C3046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D7996EEB-67F5-4DE6-B249-F28D83B3F360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6330D16-C3DF-4899-905F-ED22086E3351}"/>
              </a:ext>
            </a:extLst>
          </p:cNvPr>
          <p:cNvGrpSpPr/>
          <p:nvPr userDrawn="1"/>
        </p:nvGrpSpPr>
        <p:grpSpPr>
          <a:xfrm>
            <a:off x="7830936" y="4188084"/>
            <a:ext cx="2155981" cy="1630582"/>
            <a:chOff x="520700" y="1690687"/>
            <a:chExt cx="2657013" cy="1865377"/>
          </a:xfrm>
        </p:grpSpPr>
        <p:sp>
          <p:nvSpPr>
            <p:cNvPr id="47" name="Rectangle 15">
              <a:extLst>
                <a:ext uri="{FF2B5EF4-FFF2-40B4-BE49-F238E27FC236}">
                  <a16:creationId xmlns:a16="http://schemas.microsoft.com/office/drawing/2014/main" id="{B55D964B-14DE-4C1C-8035-83F0F2EF90B5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74820E22-A28F-4F02-94A3-58931C9B787E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F0A40111-168F-4497-886A-FB51AFA39F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18030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7A7B9E0D-2603-4032-A23C-36F8D1FC23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9226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1" name="Text Placeholder 31">
            <a:extLst>
              <a:ext uri="{FF2B5EF4-FFF2-40B4-BE49-F238E27FC236}">
                <a16:creationId xmlns:a16="http://schemas.microsoft.com/office/drawing/2014/main" id="{4C44BDD6-182F-46E4-93FC-43941C6FCC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80420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2" name="Text Placeholder 31">
            <a:extLst>
              <a:ext uri="{FF2B5EF4-FFF2-40B4-BE49-F238E27FC236}">
                <a16:creationId xmlns:a16="http://schemas.microsoft.com/office/drawing/2014/main" id="{146B9903-E3C6-4472-8F80-F74BCF75A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699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8EF8F0D2-C983-41EC-98A0-2FC61FA6B3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51896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00DA53C4-87E6-4E15-8B37-7FD9DF2E8C1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091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5" name="Text Placeholder 31">
            <a:extLst>
              <a:ext uri="{FF2B5EF4-FFF2-40B4-BE49-F238E27FC236}">
                <a16:creationId xmlns:a16="http://schemas.microsoft.com/office/drawing/2014/main" id="{D99748A6-B121-4D68-BCD6-3164577AC3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14288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6" name="Text Placeholder 31">
            <a:extLst>
              <a:ext uri="{FF2B5EF4-FFF2-40B4-BE49-F238E27FC236}">
                <a16:creationId xmlns:a16="http://schemas.microsoft.com/office/drawing/2014/main" id="{B4EBA471-8F08-4F64-ACEE-D1DD5942606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18030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6403B303-FB7E-4805-8214-6B05AC1F77A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49226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8" name="Text Placeholder 31">
            <a:extLst>
              <a:ext uri="{FF2B5EF4-FFF2-40B4-BE49-F238E27FC236}">
                <a16:creationId xmlns:a16="http://schemas.microsoft.com/office/drawing/2014/main" id="{49AAEA83-A2B2-4238-907F-0090DF30C2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0420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83E98E6-2646-4A01-82E8-281A91F1A4C3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6172C09-3F85-45A0-989F-846F05F5756D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5299EAE-B503-41BB-AEFE-1B65262CD1AB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28E97010-C635-4BA9-9069-E49D0C60FA17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75825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E5DF80-A7AA-488C-8C76-E57CFE700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D0F218-0B90-43C2-A3D3-5F64BBF37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A9F488-964B-419E-AC12-3ACFE37F9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61CCA97-159D-4082-9038-1F625D92FA47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C040015-7053-42E9-8FAC-08B2FCB8E692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0B9BD2-CD24-442C-A47A-9A3376FA786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9C33241-0DE8-43E3-9446-43E4144D51AC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72149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as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D0F9F7-837D-4C35-98CF-84610A15E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57DBDF0-A445-45E3-95B2-8AA935F1896C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B11D792-F5E3-46C2-89EA-72EF88806641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AB57721-DF40-4846-AA09-641C822863A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3F3A4D0-C164-4837-999E-84A1F41D429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68B2F34-A5B3-4752-9107-D0000DCD20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700" y="1819277"/>
            <a:ext cx="11150600" cy="581025"/>
          </a:xfrm>
        </p:spPr>
        <p:txBody>
          <a:bodyPr>
            <a:normAutofit/>
          </a:bodyPr>
          <a:lstStyle>
            <a:lvl1pPr marL="0" indent="0">
              <a:buNone/>
              <a:defRPr sz="2000" i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2D865E9E-D5A1-4E50-8765-1C11BF544CBB}"/>
              </a:ext>
            </a:extLst>
          </p:cNvPr>
          <p:cNvSpPr/>
          <p:nvPr userDrawn="1"/>
        </p:nvSpPr>
        <p:spPr>
          <a:xfrm>
            <a:off x="520699" y="2710183"/>
            <a:ext cx="384808" cy="348424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B2788E9-0C08-457A-A04F-3C2E98810440}"/>
              </a:ext>
            </a:extLst>
          </p:cNvPr>
          <p:cNvCxnSpPr>
            <a:cxnSpLocks/>
          </p:cNvCxnSpPr>
          <p:nvPr userDrawn="1"/>
        </p:nvCxnSpPr>
        <p:spPr>
          <a:xfrm>
            <a:off x="836387" y="6194425"/>
            <a:ext cx="4688416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9" name="Rectangle 15">
            <a:extLst>
              <a:ext uri="{FF2B5EF4-FFF2-40B4-BE49-F238E27FC236}">
                <a16:creationId xmlns:a16="http://schemas.microsoft.com/office/drawing/2014/main" id="{40CDCC2A-83F3-4872-A1A5-AC8A56C0D387}"/>
              </a:ext>
            </a:extLst>
          </p:cNvPr>
          <p:cNvSpPr/>
          <p:nvPr userDrawn="1"/>
        </p:nvSpPr>
        <p:spPr>
          <a:xfrm>
            <a:off x="6662612" y="2710183"/>
            <a:ext cx="384808" cy="348424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FA1C4B7-3F42-483F-BC7A-4C7B0122308F}"/>
              </a:ext>
            </a:extLst>
          </p:cNvPr>
          <p:cNvCxnSpPr>
            <a:cxnSpLocks/>
          </p:cNvCxnSpPr>
          <p:nvPr userDrawn="1"/>
        </p:nvCxnSpPr>
        <p:spPr>
          <a:xfrm>
            <a:off x="6978299" y="6194425"/>
            <a:ext cx="4688416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AC9100CE-066B-4C75-9E1A-20275EE6D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0700" y="3162541"/>
            <a:ext cx="5003800" cy="3031884"/>
          </a:xfrm>
        </p:spPr>
        <p:txBody>
          <a:bodyPr lIns="91440" tIns="91440" rIns="91440">
            <a:normAutofit/>
          </a:bodyPr>
          <a:lstStyle>
            <a:lvl1pPr>
              <a:defRPr sz="1800"/>
            </a:lvl1pPr>
            <a:lvl2pPr marL="685783" indent="-228594">
              <a:buFont typeface="Engravers MT" panose="02090707080505020304" pitchFamily="18" charset="0"/>
              <a:buChar char="–"/>
              <a:defRPr sz="1600"/>
            </a:lvl2pPr>
            <a:lvl3pPr marL="1142971" indent="-228594">
              <a:buFont typeface="Wingdings" panose="05000000000000000000" pitchFamily="2" charset="2"/>
              <a:buChar char="§"/>
              <a:defRPr sz="1400"/>
            </a:lvl3pPr>
            <a:lvl4pPr marL="1600160" indent="-228594">
              <a:buFont typeface="Engravers MT" panose="02090707080505020304" pitchFamily="18" charset="0"/>
              <a:buChar char="–"/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5" name="Text Placeholder 63">
            <a:extLst>
              <a:ext uri="{FF2B5EF4-FFF2-40B4-BE49-F238E27FC236}">
                <a16:creationId xmlns:a16="http://schemas.microsoft.com/office/drawing/2014/main" id="{7E2E2321-FEB1-4EDE-8CEE-B011CBE915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2612" y="3162541"/>
            <a:ext cx="5003800" cy="3031884"/>
          </a:xfrm>
        </p:spPr>
        <p:txBody>
          <a:bodyPr lIns="91440" tIns="91440" rIns="91440">
            <a:normAutofit/>
          </a:bodyPr>
          <a:lstStyle>
            <a:lvl1pPr>
              <a:defRPr sz="1800"/>
            </a:lvl1pPr>
            <a:lvl2pPr marL="685783" indent="-228594">
              <a:buFont typeface="Engravers MT" panose="02090707080505020304" pitchFamily="18" charset="0"/>
              <a:buChar char="–"/>
              <a:defRPr sz="1600"/>
            </a:lvl2pPr>
            <a:lvl3pPr marL="1142971" indent="-228594">
              <a:buFont typeface="Wingdings" panose="05000000000000000000" pitchFamily="2" charset="2"/>
              <a:buChar char="§"/>
              <a:defRPr sz="1400"/>
            </a:lvl3pPr>
            <a:lvl4pPr marL="1600160" indent="-228594">
              <a:buFont typeface="Engravers MT" panose="02090707080505020304" pitchFamily="18" charset="0"/>
              <a:buChar char="–"/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36B3FE-FAD2-479F-A97B-299D061D85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0699" y="2796781"/>
            <a:ext cx="5001767" cy="365760"/>
          </a:xfrm>
          <a:solidFill>
            <a:schemeClr val="tx2"/>
          </a:solidFill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Heading Here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CCA8FCB-3318-40DD-A974-20D29D54EF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4646" y="2796781"/>
            <a:ext cx="5001767" cy="365760"/>
          </a:xfrm>
          <a:solidFill>
            <a:schemeClr val="tx2"/>
          </a:solidFill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Heading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39629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ext Placeholder 25">
            <a:extLst>
              <a:ext uri="{FF2B5EF4-FFF2-40B4-BE49-F238E27FC236}">
                <a16:creationId xmlns:a16="http://schemas.microsoft.com/office/drawing/2014/main" id="{8E877D32-1C8D-4ED9-9853-17CE9964CE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0802" y="1932013"/>
            <a:ext cx="521868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A96D735-7D86-4D11-9300-BADFF1111D9B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4BE2553-5B47-43D0-8C34-FA22B9AAA9F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436509B-9F6D-4856-BA86-5B3E12ABEA3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B2593B5-913C-46CF-98CB-2ECA90F70B5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A44ED3E-1620-40F9-B1FD-8D35BC8FF9F3}"/>
              </a:ext>
            </a:extLst>
          </p:cNvPr>
          <p:cNvGrpSpPr/>
          <p:nvPr userDrawn="1"/>
        </p:nvGrpSpPr>
        <p:grpSpPr>
          <a:xfrm>
            <a:off x="520701" y="1852615"/>
            <a:ext cx="5358891" cy="796401"/>
            <a:chOff x="520700" y="2028080"/>
            <a:chExt cx="5358891" cy="620934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988F8592-B6BC-4ACA-B9D6-C3ACA11BE448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5" name="Rectangle 15">
              <a:extLst>
                <a:ext uri="{FF2B5EF4-FFF2-40B4-BE49-F238E27FC236}">
                  <a16:creationId xmlns:a16="http://schemas.microsoft.com/office/drawing/2014/main" id="{AFB07A28-B1EE-4131-82CB-9A693F4A7A73}"/>
                </a:ext>
              </a:extLst>
            </p:cNvPr>
            <p:cNvSpPr/>
            <p:nvPr userDrawn="1"/>
          </p:nvSpPr>
          <p:spPr>
            <a:xfrm flipH="1">
              <a:off x="5769101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E155A1-548F-4705-AFD6-554DEC324A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0" y="2727962"/>
            <a:ext cx="5359400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3A6ACE54-1E10-4C07-AD13-F01EF15BE5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2156" y="2727962"/>
            <a:ext cx="5359400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1pPr>
            <a:lvl2pPr marL="685783" indent="-228594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Second level</a:t>
            </a:r>
          </a:p>
          <a:p>
            <a:pPr marL="1142971" lvl="2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1600160" lvl="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Fourth level</a:t>
            </a:r>
          </a:p>
          <a:p>
            <a:pPr marL="2057349" lvl="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0DC07DBC-9C67-4B8E-93BA-49DC6027A1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2511" y="1932013"/>
            <a:ext cx="521868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F92DB0C-9F77-4238-B7D3-16E53DE91EF6}"/>
              </a:ext>
            </a:extLst>
          </p:cNvPr>
          <p:cNvGrpSpPr/>
          <p:nvPr userDrawn="1"/>
        </p:nvGrpSpPr>
        <p:grpSpPr>
          <a:xfrm>
            <a:off x="6312409" y="1852615"/>
            <a:ext cx="5358891" cy="796401"/>
            <a:chOff x="6312409" y="2028080"/>
            <a:chExt cx="5358891" cy="620934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A202863A-F0F4-4F9F-ABC5-01F0A85EC7CE}"/>
                </a:ext>
              </a:extLst>
            </p:cNvPr>
            <p:cNvSpPr/>
            <p:nvPr userDrawn="1"/>
          </p:nvSpPr>
          <p:spPr>
            <a:xfrm>
              <a:off x="6312409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31E9A594-FDA0-4799-AA52-E6566D671DA7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E936870-D418-4E1D-825D-ED7BCE686EB1}"/>
              </a:ext>
            </a:extLst>
          </p:cNvPr>
          <p:cNvCxnSpPr/>
          <p:nvPr userDrawn="1"/>
        </p:nvCxnSpPr>
        <p:spPr>
          <a:xfrm>
            <a:off x="6096001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20252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A96D735-7D86-4D11-9300-BADFF1111D9B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4BE2553-5B47-43D0-8C34-FA22B9AAA9F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436509B-9F6D-4856-BA86-5B3E12ABEA3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B2593B5-913C-46CF-98CB-2ECA90F70B5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F058CEC-AFF0-443C-B251-E893B13CD9D9}"/>
              </a:ext>
            </a:extLst>
          </p:cNvPr>
          <p:cNvGrpSpPr/>
          <p:nvPr userDrawn="1"/>
        </p:nvGrpSpPr>
        <p:grpSpPr>
          <a:xfrm>
            <a:off x="520702" y="1852615"/>
            <a:ext cx="2505095" cy="796401"/>
            <a:chOff x="520700" y="2028080"/>
            <a:chExt cx="2505095" cy="620934"/>
          </a:xfrm>
        </p:grpSpPr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BD0C3CC0-C463-4A23-8DA2-03FC7700E163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92628147-F44A-4067-B9DC-DA1F7840121F}"/>
                </a:ext>
              </a:extLst>
            </p:cNvPr>
            <p:cNvSpPr/>
            <p:nvPr userDrawn="1"/>
          </p:nvSpPr>
          <p:spPr>
            <a:xfrm flipH="1">
              <a:off x="29153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E461AF6-0198-4CEE-A53C-3075A307522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2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B46E48E8-214F-4501-8F4E-061E87E725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0935" y="1932013"/>
            <a:ext cx="2368296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8681A48D-58A1-437D-AD36-772F1BBF58D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02537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44C6468E-A8F1-4654-9A45-680B4704FD5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84371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D3A7CC4-909A-42D4-99B4-405DD6A690CE}"/>
              </a:ext>
            </a:extLst>
          </p:cNvPr>
          <p:cNvGrpSpPr/>
          <p:nvPr userDrawn="1"/>
        </p:nvGrpSpPr>
        <p:grpSpPr>
          <a:xfrm>
            <a:off x="3402537" y="1852615"/>
            <a:ext cx="2505095" cy="796401"/>
            <a:chOff x="3402535" y="2028080"/>
            <a:chExt cx="2505095" cy="620934"/>
          </a:xfrm>
        </p:grpSpPr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FE3C12D5-6A0C-4A90-AEF4-8BBEE133C7B8}"/>
                </a:ext>
              </a:extLst>
            </p:cNvPr>
            <p:cNvSpPr/>
            <p:nvPr userDrawn="1"/>
          </p:nvSpPr>
          <p:spPr>
            <a:xfrm>
              <a:off x="340253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46" name="Rectangle 15">
              <a:extLst>
                <a:ext uri="{FF2B5EF4-FFF2-40B4-BE49-F238E27FC236}">
                  <a16:creationId xmlns:a16="http://schemas.microsoft.com/office/drawing/2014/main" id="{FB411CCB-5677-49FE-868C-63060487EFF9}"/>
                </a:ext>
              </a:extLst>
            </p:cNvPr>
            <p:cNvSpPr/>
            <p:nvPr userDrawn="1"/>
          </p:nvSpPr>
          <p:spPr>
            <a:xfrm flipH="1">
              <a:off x="579714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31D5CD67-C094-49C6-B68F-904E99637AE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55080" y="1932013"/>
            <a:ext cx="2362200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F2F7AC8-FC39-4114-A75A-F5B309FADA56}"/>
              </a:ext>
            </a:extLst>
          </p:cNvPr>
          <p:cNvCxnSpPr>
            <a:cxnSpLocks/>
          </p:cNvCxnSpPr>
          <p:nvPr userDrawn="1"/>
        </p:nvCxnSpPr>
        <p:spPr>
          <a:xfrm>
            <a:off x="3214165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D7B0637-8114-4053-B9A6-FCF82118412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35D960B-E5B6-449B-9EFB-F07C1BE3CE1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66206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5BD2113-B292-4541-BC74-19755F71C3C2}"/>
              </a:ext>
            </a:extLst>
          </p:cNvPr>
          <p:cNvGrpSpPr/>
          <p:nvPr userDrawn="1"/>
        </p:nvGrpSpPr>
        <p:grpSpPr>
          <a:xfrm>
            <a:off x="6284371" y="1852615"/>
            <a:ext cx="2505095" cy="796401"/>
            <a:chOff x="6284370" y="2028080"/>
            <a:chExt cx="2505095" cy="620934"/>
          </a:xfrm>
        </p:grpSpPr>
        <p:sp>
          <p:nvSpPr>
            <p:cNvPr id="53" name="Rectangle 15">
              <a:extLst>
                <a:ext uri="{FF2B5EF4-FFF2-40B4-BE49-F238E27FC236}">
                  <a16:creationId xmlns:a16="http://schemas.microsoft.com/office/drawing/2014/main" id="{F87936B0-B7E0-4097-B4A1-C064390EC348}"/>
                </a:ext>
              </a:extLst>
            </p:cNvPr>
            <p:cNvSpPr/>
            <p:nvPr userDrawn="1"/>
          </p:nvSpPr>
          <p:spPr>
            <a:xfrm>
              <a:off x="628437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4" name="Rectangle 15">
              <a:extLst>
                <a:ext uri="{FF2B5EF4-FFF2-40B4-BE49-F238E27FC236}">
                  <a16:creationId xmlns:a16="http://schemas.microsoft.com/office/drawing/2014/main" id="{9C358D58-0B3F-4D77-BE83-523745FEF4E6}"/>
                </a:ext>
              </a:extLst>
            </p:cNvPr>
            <p:cNvSpPr/>
            <p:nvPr userDrawn="1"/>
          </p:nvSpPr>
          <p:spPr>
            <a:xfrm flipH="1">
              <a:off x="867897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37BA7F1-12BA-43DF-ADA8-88E8559C8AAA}"/>
              </a:ext>
            </a:extLst>
          </p:cNvPr>
          <p:cNvGrpSpPr/>
          <p:nvPr userDrawn="1"/>
        </p:nvGrpSpPr>
        <p:grpSpPr>
          <a:xfrm>
            <a:off x="9166206" y="1852615"/>
            <a:ext cx="2505095" cy="796401"/>
            <a:chOff x="9166205" y="2028080"/>
            <a:chExt cx="2505095" cy="620934"/>
          </a:xfrm>
        </p:grpSpPr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82EA8142-B1E2-439E-9328-D93B360F480B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5" name="Rectangle 15">
              <a:extLst>
                <a:ext uri="{FF2B5EF4-FFF2-40B4-BE49-F238E27FC236}">
                  <a16:creationId xmlns:a16="http://schemas.microsoft.com/office/drawing/2014/main" id="{F5874F68-F3AA-41A2-9B56-67ED5186C3B8}"/>
                </a:ext>
              </a:extLst>
            </p:cNvPr>
            <p:cNvSpPr/>
            <p:nvPr userDrawn="1"/>
          </p:nvSpPr>
          <p:spPr>
            <a:xfrm>
              <a:off x="91662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199D7BF7-161D-49DC-B9B2-4CBC0FC1EC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35440" y="1932013"/>
            <a:ext cx="236575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B82116B-6733-4FBB-8DB8-D7E8C6027F54}"/>
              </a:ext>
            </a:extLst>
          </p:cNvPr>
          <p:cNvCxnSpPr>
            <a:cxnSpLocks/>
          </p:cNvCxnSpPr>
          <p:nvPr userDrawn="1"/>
        </p:nvCxnSpPr>
        <p:spPr>
          <a:xfrm>
            <a:off x="8977835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5">
            <a:extLst>
              <a:ext uri="{FF2B5EF4-FFF2-40B4-BE49-F238E27FC236}">
                <a16:creationId xmlns:a16="http://schemas.microsoft.com/office/drawing/2014/main" id="{44C922BA-DB39-4EF8-864F-6D5584EC9A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0803" y="1932013"/>
            <a:ext cx="2367864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5888491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3983315-0554-49E6-9E3D-9C6C39129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3983315-0554-49E6-9E3D-9C6C39129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5704900D-C556-4FC7-9A86-750D6D2A75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860C1182-B65F-4B3C-ACD1-BA7442AF21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13" b="6803"/>
          <a:stretch/>
        </p:blipFill>
        <p:spPr>
          <a:xfrm>
            <a:off x="1" y="2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A411A5F-DED5-4A76-84EB-B19B1CEFB4BB}"/>
              </a:ext>
            </a:extLst>
          </p:cNvPr>
          <p:cNvSpPr/>
          <p:nvPr userDrawn="1"/>
        </p:nvSpPr>
        <p:spPr>
          <a:xfrm flipH="1">
            <a:off x="0" y="0"/>
            <a:ext cx="678180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10DC646-B7F1-462B-A35C-22CC616E7BC3}"/>
              </a:ext>
            </a:extLst>
          </p:cNvPr>
          <p:cNvSpPr/>
          <p:nvPr userDrawn="1"/>
        </p:nvSpPr>
        <p:spPr>
          <a:xfrm>
            <a:off x="1" y="0"/>
            <a:ext cx="6150235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985ECFF-9CC9-4ED0-BA13-3E57643AE7A3}"/>
              </a:ext>
            </a:extLst>
          </p:cNvPr>
          <p:cNvGrpSpPr/>
          <p:nvPr userDrawn="1"/>
        </p:nvGrpSpPr>
        <p:grpSpPr>
          <a:xfrm>
            <a:off x="517738" y="354014"/>
            <a:ext cx="5357535" cy="1465262"/>
            <a:chOff x="6237511" y="354014"/>
            <a:chExt cx="5429770" cy="1465262"/>
          </a:xfrm>
        </p:grpSpPr>
        <p:sp>
          <p:nvSpPr>
            <p:cNvPr id="10" name="Rectangle 15">
              <a:extLst>
                <a:ext uri="{FF2B5EF4-FFF2-40B4-BE49-F238E27FC236}">
                  <a16:creationId xmlns:a16="http://schemas.microsoft.com/office/drawing/2014/main" id="{7973D31B-AC49-47BA-A85E-0B9CD15DCE26}"/>
                </a:ext>
              </a:extLst>
            </p:cNvPr>
            <p:cNvSpPr/>
            <p:nvPr/>
          </p:nvSpPr>
          <p:spPr>
            <a:xfrm>
              <a:off x="6237511" y="354014"/>
              <a:ext cx="218109" cy="1465262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>
                <a:solidFill>
                  <a:schemeClr val="bg1"/>
                </a:solidFill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F07AFA1-2DAA-46B4-8121-B97EE95E9E9D}"/>
                </a:ext>
              </a:extLst>
            </p:cNvPr>
            <p:cNvCxnSpPr>
              <a:cxnSpLocks/>
              <a:stCxn id="10" idx="0"/>
            </p:cNvCxnSpPr>
            <p:nvPr/>
          </p:nvCxnSpPr>
          <p:spPr>
            <a:xfrm>
              <a:off x="6455620" y="1819276"/>
              <a:ext cx="5211661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F0FA0DD-8A8F-4BC7-AE30-9F3839C4B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946" y="436175"/>
            <a:ext cx="5193293" cy="127320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endParaRPr lang="en-US" sz="44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904AD61-230F-464E-ADAF-626FD2E35B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7526" y="1901825"/>
            <a:ext cx="5357813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18612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2 row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AB29D59-B924-4400-9D57-3FD4CFC30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AB29D59-B924-4400-9D57-3FD4CFC30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8DAB3F09-434C-413D-9D4B-B2EF9F3DBA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8637" y="653439"/>
            <a:ext cx="5198312" cy="54257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  <a:endParaRPr lang="en-US"/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25CD491B-8A58-4B7C-8BEE-42F0F17570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8637" y="3332796"/>
            <a:ext cx="5198312" cy="54257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D96E96C-CFAC-4A3C-BA1E-83562777442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765" y="1310642"/>
            <a:ext cx="6463535" cy="1933813"/>
          </a:xfrm>
        </p:spPr>
        <p:txBody>
          <a:bodyPr>
            <a:normAutofit/>
          </a:bodyPr>
          <a:lstStyle>
            <a:lvl1pPr marL="231769" indent="-231769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34C80F9-EEA4-4343-9C03-412CF26BB5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07765" y="3994293"/>
            <a:ext cx="6463535" cy="1933813"/>
          </a:xfrm>
        </p:spPr>
        <p:txBody>
          <a:bodyPr>
            <a:normAutofit/>
          </a:bodyPr>
          <a:lstStyle>
            <a:lvl1pPr marL="231769" indent="-231769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7C5F1C-5D8D-47D1-AAA0-2BABFF1BA1AF}"/>
              </a:ext>
            </a:extLst>
          </p:cNvPr>
          <p:cNvSpPr/>
          <p:nvPr userDrawn="1"/>
        </p:nvSpPr>
        <p:spPr>
          <a:xfrm>
            <a:off x="0" y="0"/>
            <a:ext cx="50086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58D94736-9D91-4D49-998F-61184343E2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13" t="16644" r="18315" b="44507"/>
          <a:stretch/>
        </p:blipFill>
        <p:spPr>
          <a:xfrm>
            <a:off x="1813560" y="1819278"/>
            <a:ext cx="1336040" cy="3042285"/>
          </a:xfrm>
          <a:custGeom>
            <a:avLst/>
            <a:gdLst>
              <a:gd name="connsiteX0" fmla="*/ 0 w 1336040"/>
              <a:gd name="connsiteY0" fmla="*/ 0 h 3042285"/>
              <a:gd name="connsiteX1" fmla="*/ 1336040 w 1336040"/>
              <a:gd name="connsiteY1" fmla="*/ 0 h 3042285"/>
              <a:gd name="connsiteX2" fmla="*/ 1336040 w 1336040"/>
              <a:gd name="connsiteY2" fmla="*/ 3042285 h 3042285"/>
              <a:gd name="connsiteX3" fmla="*/ 0 w 1336040"/>
              <a:gd name="connsiteY3" fmla="*/ 3042285 h 3042285"/>
              <a:gd name="connsiteX4" fmla="*/ 0 w 1336040"/>
              <a:gd name="connsiteY4" fmla="*/ 0 h 3042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6040" h="3042285">
                <a:moveTo>
                  <a:pt x="0" y="0"/>
                </a:moveTo>
                <a:lnTo>
                  <a:pt x="1336040" y="0"/>
                </a:lnTo>
                <a:lnTo>
                  <a:pt x="1336040" y="3042285"/>
                </a:lnTo>
                <a:lnTo>
                  <a:pt x="0" y="304228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10" name="Picture 9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02707E75-58FC-4714-ADA0-101CDB7C28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00" t="45530" r="27728" b="15339"/>
          <a:stretch/>
        </p:blipFill>
        <p:spPr>
          <a:xfrm>
            <a:off x="372403" y="2859414"/>
            <a:ext cx="1336040" cy="3064397"/>
          </a:xfrm>
          <a:custGeom>
            <a:avLst/>
            <a:gdLst>
              <a:gd name="connsiteX0" fmla="*/ 0 w 1336040"/>
              <a:gd name="connsiteY0" fmla="*/ 0 h 3064397"/>
              <a:gd name="connsiteX1" fmla="*/ 1336040 w 1336040"/>
              <a:gd name="connsiteY1" fmla="*/ 0 h 3064397"/>
              <a:gd name="connsiteX2" fmla="*/ 1336040 w 1336040"/>
              <a:gd name="connsiteY2" fmla="*/ 3064397 h 3064397"/>
              <a:gd name="connsiteX3" fmla="*/ 0 w 1336040"/>
              <a:gd name="connsiteY3" fmla="*/ 3064397 h 3064397"/>
              <a:gd name="connsiteX4" fmla="*/ 0 w 1336040"/>
              <a:gd name="connsiteY4" fmla="*/ 0 h 3064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6040" h="3064397">
                <a:moveTo>
                  <a:pt x="0" y="0"/>
                </a:moveTo>
                <a:lnTo>
                  <a:pt x="1336040" y="0"/>
                </a:lnTo>
                <a:lnTo>
                  <a:pt x="1336040" y="3064397"/>
                </a:lnTo>
                <a:lnTo>
                  <a:pt x="0" y="3064397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11" name="Picture 10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C1A5F51B-F639-436C-9972-A845415A70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067" t="43787" r="6561" b="17082"/>
          <a:stretch/>
        </p:blipFill>
        <p:spPr>
          <a:xfrm>
            <a:off x="3304700" y="3429002"/>
            <a:ext cx="1336040" cy="3064397"/>
          </a:xfrm>
          <a:custGeom>
            <a:avLst/>
            <a:gdLst>
              <a:gd name="connsiteX0" fmla="*/ 0 w 1336040"/>
              <a:gd name="connsiteY0" fmla="*/ 0 h 3064397"/>
              <a:gd name="connsiteX1" fmla="*/ 1336040 w 1336040"/>
              <a:gd name="connsiteY1" fmla="*/ 0 h 3064397"/>
              <a:gd name="connsiteX2" fmla="*/ 1336040 w 1336040"/>
              <a:gd name="connsiteY2" fmla="*/ 3064397 h 3064397"/>
              <a:gd name="connsiteX3" fmla="*/ 0 w 1336040"/>
              <a:gd name="connsiteY3" fmla="*/ 3064397 h 3064397"/>
              <a:gd name="connsiteX4" fmla="*/ 0 w 1336040"/>
              <a:gd name="connsiteY4" fmla="*/ 0 h 3064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6040" h="3064397">
                <a:moveTo>
                  <a:pt x="0" y="0"/>
                </a:moveTo>
                <a:lnTo>
                  <a:pt x="1336040" y="0"/>
                </a:lnTo>
                <a:lnTo>
                  <a:pt x="1336040" y="3064397"/>
                </a:lnTo>
                <a:lnTo>
                  <a:pt x="0" y="3064397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8BB7155-87AD-4CB8-9B4E-961F885B4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404" y="436175"/>
            <a:ext cx="4473917" cy="127320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endParaRPr lang="en-US" sz="44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807067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xt Steps (2 steps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32" name="Picture 31" descr="A group of people sitting at a table with a computer&#10;&#10;Description automatically generated">
            <a:extLst>
              <a:ext uri="{FF2B5EF4-FFF2-40B4-BE49-F238E27FC236}">
                <a16:creationId xmlns:a16="http://schemas.microsoft.com/office/drawing/2014/main" id="{74CC273F-BF3B-4F87-AE25-118CB2E816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2192000" cy="3176325"/>
          </a:xfrm>
          <a:custGeom>
            <a:avLst/>
            <a:gdLst>
              <a:gd name="connsiteX0" fmla="*/ 0 w 12192000"/>
              <a:gd name="connsiteY0" fmla="*/ 0 h 3312850"/>
              <a:gd name="connsiteX1" fmla="*/ 12192000 w 12192000"/>
              <a:gd name="connsiteY1" fmla="*/ 0 h 3312850"/>
              <a:gd name="connsiteX2" fmla="*/ 12192000 w 12192000"/>
              <a:gd name="connsiteY2" fmla="*/ 3312850 h 3312850"/>
              <a:gd name="connsiteX3" fmla="*/ 0 w 12192000"/>
              <a:gd name="connsiteY3" fmla="*/ 3312850 h 331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312850">
                <a:moveTo>
                  <a:pt x="0" y="0"/>
                </a:moveTo>
                <a:lnTo>
                  <a:pt x="12192000" y="0"/>
                </a:lnTo>
                <a:lnTo>
                  <a:pt x="12192000" y="3312850"/>
                </a:lnTo>
                <a:lnTo>
                  <a:pt x="0" y="3312850"/>
                </a:lnTo>
                <a:close/>
              </a:path>
            </a:pathLst>
          </a:cu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ED72D30-5830-4FFE-8AA1-0FA5F9988A91}"/>
              </a:ext>
            </a:extLst>
          </p:cNvPr>
          <p:cNvSpPr/>
          <p:nvPr userDrawn="1"/>
        </p:nvSpPr>
        <p:spPr>
          <a:xfrm>
            <a:off x="-277" y="0"/>
            <a:ext cx="12192277" cy="317817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3352CB7-DE56-4EC6-A0ED-184105DFB3EB}"/>
              </a:ext>
            </a:extLst>
          </p:cNvPr>
          <p:cNvGrpSpPr/>
          <p:nvPr/>
        </p:nvGrpSpPr>
        <p:grpSpPr>
          <a:xfrm>
            <a:off x="520701" y="1174249"/>
            <a:ext cx="1567180" cy="63148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AB90360-438B-4D83-86D9-3F4A4E7E293B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1F44C3-78D9-4E71-B590-7906C22049C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1F01DE-99A0-4127-B3AE-F674CD3F8BC8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4" name="Rectangle 15">
            <a:extLst>
              <a:ext uri="{FF2B5EF4-FFF2-40B4-BE49-F238E27FC236}">
                <a16:creationId xmlns:a16="http://schemas.microsoft.com/office/drawing/2014/main" id="{69C2AC58-766A-4775-94A1-72FA10741A6F}"/>
              </a:ext>
            </a:extLst>
          </p:cNvPr>
          <p:cNvSpPr/>
          <p:nvPr/>
        </p:nvSpPr>
        <p:spPr>
          <a:xfrm>
            <a:off x="520700" y="3321694"/>
            <a:ext cx="218109" cy="2872733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D2653FC-3616-473D-8CDE-E277AC3C4158}"/>
              </a:ext>
            </a:extLst>
          </p:cNvPr>
          <p:cNvCxnSpPr>
            <a:cxnSpLocks/>
            <a:stCxn id="14" idx="0"/>
          </p:cNvCxnSpPr>
          <p:nvPr/>
        </p:nvCxnSpPr>
        <p:spPr>
          <a:xfrm>
            <a:off x="738808" y="6194425"/>
            <a:ext cx="5033343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Rectangle 15">
            <a:extLst>
              <a:ext uri="{FF2B5EF4-FFF2-40B4-BE49-F238E27FC236}">
                <a16:creationId xmlns:a16="http://schemas.microsoft.com/office/drawing/2014/main" id="{A913DB87-AE04-4B9F-975F-C321CD0D7C39}"/>
              </a:ext>
            </a:extLst>
          </p:cNvPr>
          <p:cNvSpPr/>
          <p:nvPr/>
        </p:nvSpPr>
        <p:spPr>
          <a:xfrm>
            <a:off x="6426200" y="3321694"/>
            <a:ext cx="218109" cy="2872733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CD9218-B26E-4507-8E53-2F5651981141}"/>
              </a:ext>
            </a:extLst>
          </p:cNvPr>
          <p:cNvCxnSpPr>
            <a:cxnSpLocks/>
            <a:stCxn id="19" idx="0"/>
          </p:cNvCxnSpPr>
          <p:nvPr/>
        </p:nvCxnSpPr>
        <p:spPr>
          <a:xfrm>
            <a:off x="6644309" y="6194425"/>
            <a:ext cx="5033343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FE9E3F7E-701C-4A0B-A75D-59447A50719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20700" y="1174250"/>
            <a:ext cx="11150600" cy="1327652"/>
          </a:xfrm>
        </p:spPr>
        <p:txBody>
          <a:bodyPr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/>
              <a:t>T</a:t>
            </a:r>
            <a:r>
              <a:rPr lang="en-US"/>
              <a:t>ITLE GOES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413FA36-7856-402C-B8C6-D549D5530D8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20701" y="3408292"/>
            <a:ext cx="2012951" cy="32855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800" b="1" dirty="0" smtClean="0">
                <a:solidFill>
                  <a:schemeClr val="bg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  <a:endParaRPr lang="en-US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1916AF90-0253-4E2C-90F6-F53036CEDF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26199" y="3408292"/>
            <a:ext cx="2012951" cy="32855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800" b="1" dirty="0" smtClean="0">
                <a:solidFill>
                  <a:schemeClr val="bg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  <a:endParaRPr lang="en-US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FBBBD15-2A35-4EC2-A7B6-2ADD2D4DB23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0701" y="3770315"/>
            <a:ext cx="5251449" cy="2422525"/>
          </a:xfrm>
        </p:spPr>
        <p:txBody>
          <a:bodyPr lIns="91440" tIns="45720" rIns="91440" bIns="45720">
            <a:no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600" kern="1200" spc="-4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35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28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5985" indent="-285744"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594" indent="-228594">
              <a:defRPr/>
            </a:lvl5pPr>
          </a:lstStyle>
          <a:p>
            <a:pPr marL="173034" lvl="0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457189" lvl="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Second level</a:t>
            </a:r>
          </a:p>
          <a:p>
            <a:pPr marL="742932" lvl="2" indent="-19049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830242" lvl="3" indent="1984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Fourth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1EE82A3-EDF4-4AF9-AD58-4AFF40F3115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6201" y="3770315"/>
            <a:ext cx="5251449" cy="2422525"/>
          </a:xfrm>
        </p:spPr>
        <p:txBody>
          <a:bodyPr lIns="91440" tIns="45720" rIns="91440" bIns="45720">
            <a:no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600" kern="1200" spc="-4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35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28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5985" indent="-285744"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594" indent="-228594">
              <a:defRPr/>
            </a:lvl5pPr>
          </a:lstStyle>
          <a:p>
            <a:pPr marL="173034" lvl="0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457189" lvl="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Second level</a:t>
            </a:r>
          </a:p>
          <a:p>
            <a:pPr marL="742932" lvl="2" indent="-19049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830242" lvl="3" indent="1984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55163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95692FC-365B-442C-B346-23FD917E98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8439" r="37803"/>
          <a:stretch/>
        </p:blipFill>
        <p:spPr>
          <a:xfrm>
            <a:off x="7569843" y="0"/>
            <a:ext cx="462215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324" y="1493006"/>
            <a:ext cx="477602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2C385CF-5E01-4659-9C54-C45B3F4341F8}"/>
              </a:ext>
            </a:extLst>
          </p:cNvPr>
          <p:cNvSpPr/>
          <p:nvPr userDrawn="1"/>
        </p:nvSpPr>
        <p:spPr>
          <a:xfrm>
            <a:off x="844952" y="697376"/>
            <a:ext cx="8090704" cy="474838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E172A5-4D9B-44A1-BA41-CF20917287CC}"/>
              </a:ext>
            </a:extLst>
          </p:cNvPr>
          <p:cNvSpPr/>
          <p:nvPr userDrawn="1"/>
        </p:nvSpPr>
        <p:spPr>
          <a:xfrm>
            <a:off x="0" y="1644688"/>
            <a:ext cx="1993392" cy="10221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D4391F-E316-43A9-BBB7-9F617857C780}"/>
              </a:ext>
            </a:extLst>
          </p:cNvPr>
          <p:cNvSpPr/>
          <p:nvPr userDrawn="1"/>
        </p:nvSpPr>
        <p:spPr>
          <a:xfrm>
            <a:off x="0" y="1644688"/>
            <a:ext cx="182880" cy="10221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C4B8006-6D20-4591-AF40-5A4B089FDD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2324" y="3067487"/>
            <a:ext cx="4776024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82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1F82CF-E1C8-4DBF-B07A-643CBB0D9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14B7A9-07EF-4B00-A94E-D55C970103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AE1632-6538-4BC5-ACDD-34CCD2BA1A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852D53-C7D8-430E-98F6-4AC23810E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815B8-30CA-4C66-A708-60070A4DFD77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86F223-42D3-4F77-BFDE-D784A0CD8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19DDD8-AA2B-461F-98DB-0137C4A7E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07F4C-1531-4DD5-B40A-2B28AA736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8721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E5DF80-A7AA-488C-8C76-E57CFE700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D0F218-0B90-43C2-A3D3-5F64BBF37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A9F488-964B-419E-AC12-3ACFE37F9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61CCA97-159D-4082-9038-1F625D92FA47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C040015-7053-42E9-8FAC-08B2FCB8E692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0B9BD2-CD24-442C-A47A-9A3376FA786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9C33241-0DE8-43E3-9446-43E4144D51AC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470660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Layou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33A2CE3F-8884-7842-3D45-88D53BDB48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E0984669-C67A-4795-88E3-E2D58361B6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79162" y="1982118"/>
            <a:ext cx="5038996" cy="2588964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AutoShape 4">
            <a:extLst>
              <a:ext uri="{FF2B5EF4-FFF2-40B4-BE49-F238E27FC236}">
                <a16:creationId xmlns:a16="http://schemas.microsoft.com/office/drawing/2014/main" id="{35D3ECB5-BEF2-18E9-3F36-E469FB034726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43600" y="3276600"/>
            <a:ext cx="4774558" cy="4774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" name="Picture 3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6BFF6A8-C841-4329-2B5E-A91126C5137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8752" y="303509"/>
            <a:ext cx="3436998" cy="652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88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2821-D465-4807-8669-14DF430C3D1D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0143F3-FB57-410B-A97E-C395F4B01BD0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1A6350-6C8F-4597-9D00-EEF3D0D1FA2C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CE3045-7A4E-4F50-AF38-F7B0777B26D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430829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C65A4-163F-435D-B7B7-BEFA97AA3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83019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922F33-ABD7-429A-9810-3DD4CF8FE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7892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E5ED6F4-038C-4AC7-8A35-1073C428C1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30CC13B-61A5-436F-9898-D42A1830B925}"/>
              </a:ext>
            </a:extLst>
          </p:cNvPr>
          <p:cNvSpPr/>
          <p:nvPr userDrawn="1"/>
        </p:nvSpPr>
        <p:spPr>
          <a:xfrm>
            <a:off x="2164466" y="0"/>
            <a:ext cx="10027534" cy="2812648"/>
          </a:xfrm>
          <a:prstGeom prst="rect">
            <a:avLst/>
          </a:prstGeom>
          <a:solidFill>
            <a:schemeClr val="tx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IN" sz="1400" b="1">
              <a:solidFill>
                <a:schemeClr val="bg1"/>
              </a:solidFill>
            </a:endParaRPr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24F9A63D-4EDC-4E69-8642-954A344C7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7720" y="2100428"/>
            <a:ext cx="6948796" cy="39652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Ready to  Help You Get Starte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F546FA8-0D8D-4FF8-B321-A55244CC47B6}"/>
              </a:ext>
            </a:extLst>
          </p:cNvPr>
          <p:cNvSpPr/>
          <p:nvPr userDrawn="1"/>
        </p:nvSpPr>
        <p:spPr>
          <a:xfrm>
            <a:off x="2164466" y="2768216"/>
            <a:ext cx="10027534" cy="408978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IN" sz="1400" b="1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1D8015-4367-468D-8FA1-82CB5FF02646}"/>
              </a:ext>
            </a:extLst>
          </p:cNvPr>
          <p:cNvGrpSpPr/>
          <p:nvPr userDrawn="1"/>
        </p:nvGrpSpPr>
        <p:grpSpPr>
          <a:xfrm>
            <a:off x="2004060" y="0"/>
            <a:ext cx="160416" cy="4045353"/>
            <a:chOff x="4595336" y="0"/>
            <a:chExt cx="54864" cy="3829838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959ADA8-A00E-4907-A1B5-F79E303E2EBC}"/>
                </a:ext>
              </a:extLst>
            </p:cNvPr>
            <p:cNvSpPr/>
            <p:nvPr userDrawn="1"/>
          </p:nvSpPr>
          <p:spPr>
            <a:xfrm>
              <a:off x="4595336" y="1284492"/>
              <a:ext cx="54864" cy="13286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0FC23A7-0496-47BE-9E23-910537408A5B}"/>
                </a:ext>
              </a:extLst>
            </p:cNvPr>
            <p:cNvSpPr/>
            <p:nvPr userDrawn="1"/>
          </p:nvSpPr>
          <p:spPr>
            <a:xfrm>
              <a:off x="4595336" y="2613139"/>
              <a:ext cx="54864" cy="121669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0717B3-1DD2-4FC4-8F37-AD424D15394B}"/>
                </a:ext>
              </a:extLst>
            </p:cNvPr>
            <p:cNvSpPr/>
            <p:nvPr userDrawn="1"/>
          </p:nvSpPr>
          <p:spPr>
            <a:xfrm>
              <a:off x="4595336" y="0"/>
              <a:ext cx="54864" cy="132864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en-IN" sz="1400" b="1">
                <a:solidFill>
                  <a:schemeClr val="bg1"/>
                </a:solidFill>
              </a:endParaRPr>
            </a:p>
          </p:txBody>
        </p:sp>
      </p:grpSp>
      <p:sp>
        <p:nvSpPr>
          <p:cNvPr id="45" name="Text Placeholder 20">
            <a:extLst>
              <a:ext uri="{FF2B5EF4-FFF2-40B4-BE49-F238E27FC236}">
                <a16:creationId xmlns:a16="http://schemas.microsoft.com/office/drawing/2014/main" id="{1EC76653-5C39-4412-9E56-229D189B2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934" y="4704797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ADAB94D4-E3EF-4066-88A3-2EB38A8D0C5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80934" y="5105916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47" name="Text Placeholder 20">
            <a:extLst>
              <a:ext uri="{FF2B5EF4-FFF2-40B4-BE49-F238E27FC236}">
                <a16:creationId xmlns:a16="http://schemas.microsoft.com/office/drawing/2014/main" id="{8BA3726B-6B15-449D-BBC7-739E4B8C95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80934" y="5507035"/>
            <a:ext cx="5501961" cy="31503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394A43BF-D36E-4E52-A734-F421675D32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60072" y="6065134"/>
            <a:ext cx="1831989" cy="573071"/>
          </a:xfrm>
          <a:prstGeom prst="rect">
            <a:avLst/>
          </a:prstGeom>
        </p:spPr>
      </p:pic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12CFDC1-7E9B-464B-BB8E-7E47FFE4B1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2020" y="3494414"/>
            <a:ext cx="5501961" cy="1036022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4246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09620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erson standing next to a window&#10;&#10;Description automatically generated">
            <a:extLst>
              <a:ext uri="{FF2B5EF4-FFF2-40B4-BE49-F238E27FC236}">
                <a16:creationId xmlns:a16="http://schemas.microsoft.com/office/drawing/2014/main" id="{62B3E9E1-3CFD-47FD-94B4-9AFEDE587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888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D1CC"/>
          </a:solidFill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636B5ED-6580-4FE3-88C5-19FB88AA3006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33000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42C1FA-57E4-4F7A-BD39-F22A436D9C12}"/>
              </a:ext>
            </a:extLst>
          </p:cNvPr>
          <p:cNvSpPr/>
          <p:nvPr userDrawn="1"/>
        </p:nvSpPr>
        <p:spPr>
          <a:xfrm>
            <a:off x="322581" y="272289"/>
            <a:ext cx="6489700" cy="6313427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1" y="365127"/>
            <a:ext cx="6093460" cy="793115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DD5554D-86AD-4CCF-B343-8352047239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1160" y="1722122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823F462-8C13-4777-A63B-0D54D90D06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1722122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81C03F2-F965-4410-9DBB-DC71313CD75B}"/>
              </a:ext>
            </a:extLst>
          </p:cNvPr>
          <p:cNvCxnSpPr/>
          <p:nvPr userDrawn="1"/>
        </p:nvCxnSpPr>
        <p:spPr>
          <a:xfrm>
            <a:off x="1463040" y="1793681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76F6688E-C326-402D-9D80-0152669EE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61160" y="2682401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BEDA4EE5-EB7F-4FCF-8BF2-E4F010E79D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701" y="2682401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0809D35-9B08-40BA-B06C-63AC620EC8AB}"/>
              </a:ext>
            </a:extLst>
          </p:cNvPr>
          <p:cNvCxnSpPr/>
          <p:nvPr userDrawn="1"/>
        </p:nvCxnSpPr>
        <p:spPr>
          <a:xfrm>
            <a:off x="1463040" y="2753960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6D6A225E-F941-46A1-952F-666ACBB8C1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661160" y="3642678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F7504E07-E294-4675-AF6C-596199AFB4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701" y="3642678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3602AC8-AC3C-4B64-902D-0F28BA6B1952}"/>
              </a:ext>
            </a:extLst>
          </p:cNvPr>
          <p:cNvCxnSpPr/>
          <p:nvPr userDrawn="1"/>
        </p:nvCxnSpPr>
        <p:spPr>
          <a:xfrm>
            <a:off x="1463040" y="3714239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D9AA3743-379D-4AE0-B6FA-A752F7F4C8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661160" y="4602959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F6EE7C4-97A7-4403-9F54-4DC9511F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701" y="4602959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2CCFA75-F87D-4EC8-9471-431A821BEA80}"/>
              </a:ext>
            </a:extLst>
          </p:cNvPr>
          <p:cNvCxnSpPr/>
          <p:nvPr userDrawn="1"/>
        </p:nvCxnSpPr>
        <p:spPr>
          <a:xfrm>
            <a:off x="1463040" y="4674518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59E292AF-5D45-4972-8CE1-7A0E723DEC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61160" y="5563237"/>
            <a:ext cx="4953000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AEE0CF3E-9445-448D-B3AA-BC211F38D0A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1" y="5563237"/>
            <a:ext cx="744220" cy="793115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AC8BAC2-4CC0-4410-8770-7967D88C41AB}"/>
              </a:ext>
            </a:extLst>
          </p:cNvPr>
          <p:cNvCxnSpPr/>
          <p:nvPr userDrawn="1"/>
        </p:nvCxnSpPr>
        <p:spPr>
          <a:xfrm>
            <a:off x="1463040" y="5634796"/>
            <a:ext cx="0" cy="64999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F971B9B-BE5C-4C87-8ADB-BCEDA4F0A771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81F7E54-1329-4D27-B928-1E8A5F1C072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0FC3D59-C3B5-4C0A-AB10-14F571ADA78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4878749-CA49-48D7-ABB8-A32BDC4A51F1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2289248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9D31AE97-88F7-4A2F-B2F1-D0428D8D5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250725" y="0"/>
            <a:ext cx="3715473" cy="6858000"/>
          </a:xfrm>
          <a:custGeom>
            <a:avLst/>
            <a:gdLst>
              <a:gd name="connsiteX0" fmla="*/ 0 w 3715473"/>
              <a:gd name="connsiteY0" fmla="*/ 0 h 6858000"/>
              <a:gd name="connsiteX1" fmla="*/ 3715473 w 3715473"/>
              <a:gd name="connsiteY1" fmla="*/ 0 h 6858000"/>
              <a:gd name="connsiteX2" fmla="*/ 3715473 w 3715473"/>
              <a:gd name="connsiteY2" fmla="*/ 6858000 h 6858000"/>
              <a:gd name="connsiteX3" fmla="*/ 0 w 371547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5473" h="6858000">
                <a:moveTo>
                  <a:pt x="0" y="0"/>
                </a:moveTo>
                <a:lnTo>
                  <a:pt x="3715473" y="0"/>
                </a:lnTo>
                <a:lnTo>
                  <a:pt x="371547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84A70D-5CB5-4EA2-9003-33C4F5254E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1" y="365127"/>
            <a:ext cx="743110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08A7EC-9406-453E-B404-477E40E7A1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B8371F-F042-4A82-A7CB-C62CA2A5034B}"/>
              </a:ext>
            </a:extLst>
          </p:cNvPr>
          <p:cNvGrpSpPr/>
          <p:nvPr userDrawn="1"/>
        </p:nvGrpSpPr>
        <p:grpSpPr>
          <a:xfrm>
            <a:off x="520701" y="1879438"/>
            <a:ext cx="744220" cy="793115"/>
            <a:chOff x="520700" y="2152891"/>
            <a:chExt cx="919480" cy="9144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6139E2-738B-46F6-B13A-1851A084F546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54BF634C-0769-4E80-9FDB-508E040D56C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80131B9-0844-4F00-A41B-1E78FEBDF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91920" y="1879438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4C5F20EE-DC2A-440D-8B72-9865496C12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5311" y="1936587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AD43C7-3C1F-4BD2-9F70-1EFFD7379064}"/>
              </a:ext>
            </a:extLst>
          </p:cNvPr>
          <p:cNvGrpSpPr/>
          <p:nvPr userDrawn="1"/>
        </p:nvGrpSpPr>
        <p:grpSpPr>
          <a:xfrm>
            <a:off x="520701" y="2861302"/>
            <a:ext cx="744220" cy="793115"/>
            <a:chOff x="520700" y="2152891"/>
            <a:chExt cx="919480" cy="914400"/>
          </a:xfrm>
        </p:grpSpPr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68327E3D-06FF-4D07-890A-086FB05E3999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1C07A5C6-F155-4EAB-B9EA-CB420C04EEB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1DC8A98-ADA8-4C2F-9C01-BD8B50D0A7B4}"/>
              </a:ext>
            </a:extLst>
          </p:cNvPr>
          <p:cNvGrpSpPr/>
          <p:nvPr userDrawn="1"/>
        </p:nvGrpSpPr>
        <p:grpSpPr>
          <a:xfrm>
            <a:off x="520701" y="3822801"/>
            <a:ext cx="744220" cy="793115"/>
            <a:chOff x="520700" y="2152891"/>
            <a:chExt cx="919480" cy="914400"/>
          </a:xfrm>
        </p:grpSpPr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AD61FB68-4DA5-4D0A-BEE4-5963F349EF83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6" name="Rectangle 15">
              <a:extLst>
                <a:ext uri="{FF2B5EF4-FFF2-40B4-BE49-F238E27FC236}">
                  <a16:creationId xmlns:a16="http://schemas.microsoft.com/office/drawing/2014/main" id="{E58E4402-A6B6-4126-928F-4DD9AC8D3FAF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8C77C39-E854-4F2D-ADCD-4FAE77BBB362}"/>
              </a:ext>
            </a:extLst>
          </p:cNvPr>
          <p:cNvGrpSpPr/>
          <p:nvPr userDrawn="1"/>
        </p:nvGrpSpPr>
        <p:grpSpPr>
          <a:xfrm>
            <a:off x="520701" y="4784300"/>
            <a:ext cx="744220" cy="793115"/>
            <a:chOff x="520700" y="2152891"/>
            <a:chExt cx="919480" cy="914400"/>
          </a:xfrm>
        </p:grpSpPr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561987EB-90A3-4094-A404-6CB3A9B02F18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065B89EC-1459-419C-977E-3DA3CE030C3B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CE6AB0A-CA06-46ED-B64F-E403674C7913}"/>
              </a:ext>
            </a:extLst>
          </p:cNvPr>
          <p:cNvGrpSpPr/>
          <p:nvPr userDrawn="1"/>
        </p:nvGrpSpPr>
        <p:grpSpPr>
          <a:xfrm>
            <a:off x="520701" y="5745799"/>
            <a:ext cx="744220" cy="793115"/>
            <a:chOff x="520700" y="2152891"/>
            <a:chExt cx="919480" cy="914400"/>
          </a:xfrm>
        </p:grpSpPr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DBDBD5D0-4B26-4184-9E97-9B55F4246F05}"/>
                </a:ext>
              </a:extLst>
            </p:cNvPr>
            <p:cNvSpPr/>
            <p:nvPr userDrawn="1"/>
          </p:nvSpPr>
          <p:spPr>
            <a:xfrm>
              <a:off x="52070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BFA2288F-93AF-46E1-A79A-7ED7AA9CF20A}"/>
                </a:ext>
              </a:extLst>
            </p:cNvPr>
            <p:cNvSpPr/>
            <p:nvPr userDrawn="1"/>
          </p:nvSpPr>
          <p:spPr>
            <a:xfrm flipH="1">
              <a:off x="1225550" y="2152891"/>
              <a:ext cx="214630" cy="914400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37AA991B-8B5C-4C9B-9A1B-A503AF32D0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91920" y="2861302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EE80A6A2-06A2-41B8-BE39-970323406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311" y="2918450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A5871AA4-CBD8-483C-BAC2-CC0CF238AE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91920" y="3822801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542B705B-93A4-45D9-901F-EF90E837A7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5311" y="3879949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4B83E4D6-A21B-4AC6-BD72-C905E3E93B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91920" y="4784300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ACDEEF47-FC5A-41D6-BDAA-DCF4BF1FF9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5311" y="4841448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E17CEA9-16D8-4348-AD88-AEE4AC9E33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91920" y="5745799"/>
            <a:ext cx="6559888" cy="793115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7E9BCE8-921B-4952-9B03-4D9DD9BFB2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5311" y="5802947"/>
            <a:ext cx="635000" cy="67881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EE12A63-23A1-412D-8383-E69991F348FD}"/>
              </a:ext>
            </a:extLst>
          </p:cNvPr>
          <p:cNvCxnSpPr>
            <a:cxnSpLocks/>
          </p:cNvCxnSpPr>
          <p:nvPr userDrawn="1"/>
        </p:nvCxnSpPr>
        <p:spPr>
          <a:xfrm>
            <a:off x="1391920" y="276692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E7A256-AB4B-466E-8E0B-C5BAEE9AE086}"/>
              </a:ext>
            </a:extLst>
          </p:cNvPr>
          <p:cNvCxnSpPr>
            <a:cxnSpLocks/>
          </p:cNvCxnSpPr>
          <p:nvPr userDrawn="1"/>
        </p:nvCxnSpPr>
        <p:spPr>
          <a:xfrm>
            <a:off x="1391920" y="3738607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795CB70-04BB-4063-AE67-0811CC8DAE2A}"/>
              </a:ext>
            </a:extLst>
          </p:cNvPr>
          <p:cNvCxnSpPr>
            <a:cxnSpLocks/>
          </p:cNvCxnSpPr>
          <p:nvPr userDrawn="1"/>
        </p:nvCxnSpPr>
        <p:spPr>
          <a:xfrm>
            <a:off x="1391920" y="4700106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07CC071-9956-4EE0-A3BC-1B2AEDA5F717}"/>
              </a:ext>
            </a:extLst>
          </p:cNvPr>
          <p:cNvCxnSpPr>
            <a:cxnSpLocks/>
          </p:cNvCxnSpPr>
          <p:nvPr userDrawn="1"/>
        </p:nvCxnSpPr>
        <p:spPr>
          <a:xfrm>
            <a:off x="1391920" y="5661605"/>
            <a:ext cx="65598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B01843B-9D53-4AD9-A0DF-38450CE6AA9C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78B09D6-6A06-4B59-9612-F15815AE122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4713DC9-22C1-484C-87D1-444A34BF4B5D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25FD187-5EC7-469E-BDFA-8AAAA9C25065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759894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2821-D465-4807-8669-14DF430C3D1D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0143F3-FB57-410B-A97E-C395F4B01BD0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1A6350-6C8F-4597-9D00-EEF3D0D1FA2C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CE3045-7A4E-4F50-AF38-F7B0777B26D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168713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1088293-6771-4A16-96B3-FDB53FD635DD}"/>
              </a:ext>
            </a:extLst>
          </p:cNvPr>
          <p:cNvSpPr/>
          <p:nvPr userDrawn="1"/>
        </p:nvSpPr>
        <p:spPr>
          <a:xfrm>
            <a:off x="4582185" y="0"/>
            <a:ext cx="760981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1" name="Picture 10" descr="Two people sitting at a table&#10;&#10;Description automatically generated">
            <a:extLst>
              <a:ext uri="{FF2B5EF4-FFF2-40B4-BE49-F238E27FC236}">
                <a16:creationId xmlns:a16="http://schemas.microsoft.com/office/drawing/2014/main" id="{2D8E55CA-5BEA-4527-A100-2024F0C4C0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4582183" cy="6858000"/>
          </a:xfrm>
          <a:custGeom>
            <a:avLst/>
            <a:gdLst>
              <a:gd name="connsiteX0" fmla="*/ 0 w 4582183"/>
              <a:gd name="connsiteY0" fmla="*/ 0 h 6858000"/>
              <a:gd name="connsiteX1" fmla="*/ 4582183 w 4582183"/>
              <a:gd name="connsiteY1" fmla="*/ 0 h 6858000"/>
              <a:gd name="connsiteX2" fmla="*/ 4582183 w 4582183"/>
              <a:gd name="connsiteY2" fmla="*/ 6858000 h 6858000"/>
              <a:gd name="connsiteX3" fmla="*/ 0 w 458218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82183" h="6858000">
                <a:moveTo>
                  <a:pt x="0" y="0"/>
                </a:moveTo>
                <a:lnTo>
                  <a:pt x="4582183" y="0"/>
                </a:lnTo>
                <a:lnTo>
                  <a:pt x="458218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365127"/>
            <a:ext cx="67183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2821-D465-4807-8669-14DF430C3D1D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0143F3-FB57-410B-A97E-C395F4B01BD0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1A6350-6C8F-4597-9D00-EEF3D0D1FA2C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CE3045-7A4E-4F50-AF38-F7B0777B26D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4" name="Rectangle 15">
            <a:extLst>
              <a:ext uri="{FF2B5EF4-FFF2-40B4-BE49-F238E27FC236}">
                <a16:creationId xmlns:a16="http://schemas.microsoft.com/office/drawing/2014/main" id="{CCC085DF-2F7C-4CE7-8AFE-25DA4ECA98D9}"/>
              </a:ext>
            </a:extLst>
          </p:cNvPr>
          <p:cNvSpPr/>
          <p:nvPr userDrawn="1"/>
        </p:nvSpPr>
        <p:spPr>
          <a:xfrm>
            <a:off x="495300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7EF7C376-5FE1-421D-AC3E-CC8A3955400F}"/>
              </a:ext>
            </a:extLst>
          </p:cNvPr>
          <p:cNvSpPr/>
          <p:nvPr userDrawn="1"/>
        </p:nvSpPr>
        <p:spPr>
          <a:xfrm flipH="1">
            <a:off x="1149758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02BDB4A-82CE-4FAC-98B7-87866D337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6721" y="2449200"/>
            <a:ext cx="6370859" cy="34605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30961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1FBB54F7-DF56-46DF-AB20-3DD3F4ABD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96619"/>
            <a:ext cx="12192000" cy="40647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B0FF00F-646F-4BB4-896E-DC7F25273843}"/>
              </a:ext>
            </a:extLst>
          </p:cNvPr>
          <p:cNvSpPr/>
          <p:nvPr userDrawn="1"/>
        </p:nvSpPr>
        <p:spPr>
          <a:xfrm>
            <a:off x="0" y="1396618"/>
            <a:ext cx="12192000" cy="406476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337CAE-BB7F-42A9-92DE-2133FA58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002634"/>
            <a:ext cx="11137900" cy="2852737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31268-3449-47EC-8584-83E899ED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0078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37CAE-BB7F-42A9-92DE-2133FA58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2002634"/>
            <a:ext cx="6377811" cy="2852737"/>
          </a:xfrm>
        </p:spPr>
        <p:txBody>
          <a:bodyPr anchor="ctr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31268-3449-47EC-8584-83E899ED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CE7B4B5-AC27-4DE7-9A3F-2DEC0D1B3E83}"/>
              </a:ext>
            </a:extLst>
          </p:cNvPr>
          <p:cNvGrpSpPr/>
          <p:nvPr userDrawn="1"/>
        </p:nvGrpSpPr>
        <p:grpSpPr>
          <a:xfrm>
            <a:off x="520700" y="1746123"/>
            <a:ext cx="1828800" cy="73152"/>
            <a:chOff x="85490" y="5421819"/>
            <a:chExt cx="9411633" cy="29550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72191FD-0CF0-4969-B92E-F90217E737E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F08A5F-E6CA-48E5-A864-D70CB0605FAF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886A2C1-2089-432C-8F25-85C76B8D23DB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5" name="Picture 14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CD7EF2CE-88A7-4195-AE5B-69D315B593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4729" y="0"/>
            <a:ext cx="48014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545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1088293-6771-4A16-96B3-FDB53FD635DD}"/>
              </a:ext>
            </a:extLst>
          </p:cNvPr>
          <p:cNvSpPr/>
          <p:nvPr userDrawn="1"/>
        </p:nvSpPr>
        <p:spPr>
          <a:xfrm>
            <a:off x="4582183" y="0"/>
            <a:ext cx="760981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Two people sitting at a table&#10;&#10;Description automatically generated">
            <a:extLst>
              <a:ext uri="{FF2B5EF4-FFF2-40B4-BE49-F238E27FC236}">
                <a16:creationId xmlns:a16="http://schemas.microsoft.com/office/drawing/2014/main" id="{2D8E55CA-5BEA-4527-A100-2024F0C4C0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4582183" cy="6858000"/>
          </a:xfrm>
          <a:custGeom>
            <a:avLst/>
            <a:gdLst>
              <a:gd name="connsiteX0" fmla="*/ 0 w 4582183"/>
              <a:gd name="connsiteY0" fmla="*/ 0 h 6858000"/>
              <a:gd name="connsiteX1" fmla="*/ 4582183 w 4582183"/>
              <a:gd name="connsiteY1" fmla="*/ 0 h 6858000"/>
              <a:gd name="connsiteX2" fmla="*/ 4582183 w 4582183"/>
              <a:gd name="connsiteY2" fmla="*/ 6858000 h 6858000"/>
              <a:gd name="connsiteX3" fmla="*/ 0 w 458218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82183" h="6858000">
                <a:moveTo>
                  <a:pt x="0" y="0"/>
                </a:moveTo>
                <a:lnTo>
                  <a:pt x="4582183" y="0"/>
                </a:lnTo>
                <a:lnTo>
                  <a:pt x="458218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0" y="365125"/>
            <a:ext cx="67183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2821-D465-4807-8669-14DF430C3D1D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0143F3-FB57-410B-A97E-C395F4B01BD0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1A6350-6C8F-4597-9D00-EEF3D0D1FA2C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CE3045-7A4E-4F50-AF38-F7B0777B26D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5">
            <a:extLst>
              <a:ext uri="{FF2B5EF4-FFF2-40B4-BE49-F238E27FC236}">
                <a16:creationId xmlns:a16="http://schemas.microsoft.com/office/drawing/2014/main" id="{CCC085DF-2F7C-4CE7-8AFE-25DA4ECA98D9}"/>
              </a:ext>
            </a:extLst>
          </p:cNvPr>
          <p:cNvSpPr/>
          <p:nvPr userDrawn="1"/>
        </p:nvSpPr>
        <p:spPr>
          <a:xfrm>
            <a:off x="495300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7EF7C376-5FE1-421D-AC3E-CC8A3955400F}"/>
              </a:ext>
            </a:extLst>
          </p:cNvPr>
          <p:cNvSpPr/>
          <p:nvPr userDrawn="1"/>
        </p:nvSpPr>
        <p:spPr>
          <a:xfrm flipH="1">
            <a:off x="11497580" y="2164571"/>
            <a:ext cx="173720" cy="402985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02BDB4A-82CE-4FAC-98B7-87866D337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6721" y="2449200"/>
            <a:ext cx="6370859" cy="34605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50873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2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1101702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41" y="366742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3158515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2423555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41" y="2423555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521532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4480368"/>
            <a:ext cx="1765256" cy="173736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41" y="4480368"/>
            <a:ext cx="4457527" cy="173736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33740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2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918822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41" y="366742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2381471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1859871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41" y="1829391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3844120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3353000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41" y="3292040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3E43FB3-2EBA-4791-B594-E88CCB85DCA9}"/>
              </a:ext>
            </a:extLst>
          </p:cNvPr>
          <p:cNvSpPr/>
          <p:nvPr userDrawn="1"/>
        </p:nvSpPr>
        <p:spPr>
          <a:xfrm>
            <a:off x="6834811" y="539820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93EE02EF-6A78-4DEC-8483-625D2C69F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6492" y="4846128"/>
            <a:ext cx="1765256" cy="1371600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6AEF5450-37B4-4024-832A-189D79D481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3941" y="4846128"/>
            <a:ext cx="4457527" cy="13716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0744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imelin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standing in front of a car&#10;&#10;Description automatically generated">
            <a:extLst>
              <a:ext uri="{FF2B5EF4-FFF2-40B4-BE49-F238E27FC236}">
                <a16:creationId xmlns:a16="http://schemas.microsoft.com/office/drawing/2014/main" id="{819D3FF1-16AE-471D-A100-BA761F461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4582183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88CE5-3782-4819-87FF-FA56CA7AB89D}"/>
              </a:ext>
            </a:extLst>
          </p:cNvPr>
          <p:cNvSpPr/>
          <p:nvPr userDrawn="1"/>
        </p:nvSpPr>
        <p:spPr>
          <a:xfrm>
            <a:off x="2" y="0"/>
            <a:ext cx="4582183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2331721"/>
            <a:ext cx="3868419" cy="21945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4183D1-28AB-4CFC-AE7A-B2D4335F2FA3}"/>
              </a:ext>
            </a:extLst>
          </p:cNvPr>
          <p:cNvCxnSpPr/>
          <p:nvPr userDrawn="1"/>
        </p:nvCxnSpPr>
        <p:spPr>
          <a:xfrm>
            <a:off x="6968531" y="0"/>
            <a:ext cx="0" cy="6858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F45BC6C-2A1A-40D8-B5CE-9FB0B7D61993}"/>
              </a:ext>
            </a:extLst>
          </p:cNvPr>
          <p:cNvSpPr/>
          <p:nvPr userDrawn="1"/>
        </p:nvSpPr>
        <p:spPr>
          <a:xfrm>
            <a:off x="6834811" y="70393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6492" y="366742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3941" y="366742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8C24C5-05D7-4E73-8F4C-B769F66BB795}"/>
              </a:ext>
            </a:extLst>
          </p:cNvPr>
          <p:cNvSpPr/>
          <p:nvPr userDrawn="1"/>
        </p:nvSpPr>
        <p:spPr>
          <a:xfrm>
            <a:off x="6834811" y="1924978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F40383-EA42-4B55-B5CB-D419E04A78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492" y="1587782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0" name="Text Placeholder 20">
            <a:extLst>
              <a:ext uri="{FF2B5EF4-FFF2-40B4-BE49-F238E27FC236}">
                <a16:creationId xmlns:a16="http://schemas.microsoft.com/office/drawing/2014/main" id="{898600C0-AC28-4324-BB07-71905DAA1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3941" y="1587782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AB71DA-BAA9-4EB1-921C-E9F315E64BA3}"/>
              </a:ext>
            </a:extLst>
          </p:cNvPr>
          <p:cNvSpPr/>
          <p:nvPr userDrawn="1"/>
        </p:nvSpPr>
        <p:spPr>
          <a:xfrm>
            <a:off x="6834811" y="3146581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2DC04D1B-BB3F-43C7-8321-DEAA8EF507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6492" y="2809385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44" name="Text Placeholder 20">
            <a:extLst>
              <a:ext uri="{FF2B5EF4-FFF2-40B4-BE49-F238E27FC236}">
                <a16:creationId xmlns:a16="http://schemas.microsoft.com/office/drawing/2014/main" id="{CDF26C97-F18C-4684-8F27-C81057196C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3941" y="2809385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3E43FB3-2EBA-4791-B594-E88CCB85DCA9}"/>
              </a:ext>
            </a:extLst>
          </p:cNvPr>
          <p:cNvSpPr/>
          <p:nvPr userDrawn="1"/>
        </p:nvSpPr>
        <p:spPr>
          <a:xfrm>
            <a:off x="6834811" y="4368184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93EE02EF-6A78-4DEC-8483-625D2C69F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6492" y="4030988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6AEF5450-37B4-4024-832A-189D79D481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3941" y="4030988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E3321D1-5029-426C-9A32-AA374EA66C88}"/>
              </a:ext>
            </a:extLst>
          </p:cNvPr>
          <p:cNvSpPr/>
          <p:nvPr userDrawn="1"/>
        </p:nvSpPr>
        <p:spPr>
          <a:xfrm>
            <a:off x="6834811" y="5589789"/>
            <a:ext cx="267440" cy="2674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4" name="Text Placeholder 20">
            <a:extLst>
              <a:ext uri="{FF2B5EF4-FFF2-40B4-BE49-F238E27FC236}">
                <a16:creationId xmlns:a16="http://schemas.microsoft.com/office/drawing/2014/main" id="{289F8350-449C-4C2D-92FC-CE0CA86D50B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76492" y="5252593"/>
            <a:ext cx="1765256" cy="941832"/>
          </a:xfrm>
        </p:spPr>
        <p:txBody>
          <a:bodyPr anchor="ctr">
            <a:noAutofit/>
          </a:bodyPr>
          <a:lstStyle>
            <a:lvl1pPr marL="0" indent="0" algn="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55" name="Text Placeholder 20">
            <a:extLst>
              <a:ext uri="{FF2B5EF4-FFF2-40B4-BE49-F238E27FC236}">
                <a16:creationId xmlns:a16="http://schemas.microsoft.com/office/drawing/2014/main" id="{718DA6E2-EE68-4588-A685-3E29D616B2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3941" y="5252593"/>
            <a:ext cx="4457527" cy="941832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69361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2115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1337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5592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70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1292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05140" y="4625327"/>
            <a:ext cx="3566160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230378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9888220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1233833" y="1903604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0821307"/>
                <a:gd name="adj2" fmla="val 2126223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831770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5026053" y="1903604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GB" sz="1800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F5666CA-82BB-49A0-91A3-0E479B28D92A}"/>
              </a:ext>
            </a:extLst>
          </p:cNvPr>
          <p:cNvGrpSpPr/>
          <p:nvPr userDrawn="1"/>
        </p:nvGrpSpPr>
        <p:grpSpPr>
          <a:xfrm>
            <a:off x="8818273" y="1903604"/>
            <a:ext cx="2139897" cy="2139897"/>
            <a:chOff x="8029619" y="1903602"/>
            <a:chExt cx="2139897" cy="2139897"/>
          </a:xfrm>
        </p:grpSpPr>
        <p:sp>
          <p:nvSpPr>
            <p:cNvPr id="57" name="Arc 56">
              <a:extLst>
                <a:ext uri="{FF2B5EF4-FFF2-40B4-BE49-F238E27FC236}">
                  <a16:creationId xmlns:a16="http://schemas.microsoft.com/office/drawing/2014/main" id="{A8EE1277-FE82-4822-A85D-B1B0E940EA07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11169507"/>
                <a:gd name="adj2" fmla="val 146547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A6455670-9200-4075-8FD1-258D64C3BC53}"/>
                </a:ext>
              </a:extLst>
            </p:cNvPr>
            <p:cNvSpPr/>
            <p:nvPr userDrawn="1"/>
          </p:nvSpPr>
          <p:spPr>
            <a:xfrm>
              <a:off x="8029619" y="1903602"/>
              <a:ext cx="2139897" cy="2139897"/>
            </a:xfrm>
            <a:prstGeom prst="arc">
              <a:avLst>
                <a:gd name="adj1" fmla="val 21586752"/>
                <a:gd name="adj2" fmla="val 10460422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1615457" y="2764342"/>
            <a:ext cx="3697155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3" name="Arrow: Right 8">
            <a:extLst>
              <a:ext uri="{FF2B5EF4-FFF2-40B4-BE49-F238E27FC236}">
                <a16:creationId xmlns:a16="http://schemas.microsoft.com/office/drawing/2014/main" id="{5A9335EB-FE49-4C21-A240-0BCAB52E2FBA}"/>
              </a:ext>
            </a:extLst>
          </p:cNvPr>
          <p:cNvSpPr/>
          <p:nvPr userDrawn="1"/>
        </p:nvSpPr>
        <p:spPr>
          <a:xfrm>
            <a:off x="5411033" y="2764342"/>
            <a:ext cx="3697155" cy="418421"/>
          </a:xfrm>
          <a:custGeom>
            <a:avLst/>
            <a:gdLst>
              <a:gd name="connsiteX0" fmla="*/ 0 w 3697154"/>
              <a:gd name="connsiteY0" fmla="*/ 104605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  <a:gd name="connsiteX7" fmla="*/ 0 w 3697154"/>
              <a:gd name="connsiteY7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0 w 3697154"/>
              <a:gd name="connsiteY8" fmla="*/ 10460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8" fmla="*/ 91440 w 3697154"/>
              <a:gd name="connsiteY8" fmla="*/ 196045 h 418421"/>
              <a:gd name="connsiteX0" fmla="*/ 0 w 3697154"/>
              <a:gd name="connsiteY0" fmla="*/ 104605 h 418421"/>
              <a:gd name="connsiteX1" fmla="*/ 1737342 w 3697154"/>
              <a:gd name="connsiteY1" fmla="*/ 100780 h 418421"/>
              <a:gd name="connsiteX2" fmla="*/ 3487944 w 3697154"/>
              <a:gd name="connsiteY2" fmla="*/ 104605 h 418421"/>
              <a:gd name="connsiteX3" fmla="*/ 3487944 w 3697154"/>
              <a:gd name="connsiteY3" fmla="*/ 0 h 418421"/>
              <a:gd name="connsiteX4" fmla="*/ 3697154 w 3697154"/>
              <a:gd name="connsiteY4" fmla="*/ 209211 h 418421"/>
              <a:gd name="connsiteX5" fmla="*/ 3487944 w 3697154"/>
              <a:gd name="connsiteY5" fmla="*/ 418421 h 418421"/>
              <a:gd name="connsiteX6" fmla="*/ 3487944 w 3697154"/>
              <a:gd name="connsiteY6" fmla="*/ 313816 h 418421"/>
              <a:gd name="connsiteX7" fmla="*/ 0 w 3697154"/>
              <a:gd name="connsiteY7" fmla="*/ 313816 h 418421"/>
              <a:gd name="connsiteX0" fmla="*/ 1737342 w 3697154"/>
              <a:gd name="connsiteY0" fmla="*/ 100780 h 418421"/>
              <a:gd name="connsiteX1" fmla="*/ 3487944 w 3697154"/>
              <a:gd name="connsiteY1" fmla="*/ 104605 h 418421"/>
              <a:gd name="connsiteX2" fmla="*/ 3487944 w 3697154"/>
              <a:gd name="connsiteY2" fmla="*/ 0 h 418421"/>
              <a:gd name="connsiteX3" fmla="*/ 3697154 w 3697154"/>
              <a:gd name="connsiteY3" fmla="*/ 209211 h 418421"/>
              <a:gd name="connsiteX4" fmla="*/ 3487944 w 3697154"/>
              <a:gd name="connsiteY4" fmla="*/ 418421 h 418421"/>
              <a:gd name="connsiteX5" fmla="*/ 3487944 w 3697154"/>
              <a:gd name="connsiteY5" fmla="*/ 313816 h 418421"/>
              <a:gd name="connsiteX6" fmla="*/ 0 w 3697154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97154" h="418421">
                <a:moveTo>
                  <a:pt x="1737342" y="100780"/>
                </a:moveTo>
                <a:lnTo>
                  <a:pt x="3487944" y="104605"/>
                </a:lnTo>
                <a:lnTo>
                  <a:pt x="3487944" y="0"/>
                </a:lnTo>
                <a:lnTo>
                  <a:pt x="3697154" y="209211"/>
                </a:lnTo>
                <a:lnTo>
                  <a:pt x="3487944" y="418421"/>
                </a:lnTo>
                <a:lnTo>
                  <a:pt x="3487944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5113787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8CD735-7E9B-475A-80E2-0530E4F646A2}"/>
              </a:ext>
            </a:extLst>
          </p:cNvPr>
          <p:cNvGrpSpPr/>
          <p:nvPr userDrawn="1"/>
        </p:nvGrpSpPr>
        <p:grpSpPr>
          <a:xfrm>
            <a:off x="520701" y="1903604"/>
            <a:ext cx="2139897" cy="2139897"/>
            <a:chOff x="520700" y="1903602"/>
            <a:chExt cx="2139897" cy="2139897"/>
          </a:xfrm>
        </p:grpSpPr>
        <p:sp>
          <p:nvSpPr>
            <p:cNvPr id="7" name="Arc 6">
              <a:extLst>
                <a:ext uri="{FF2B5EF4-FFF2-40B4-BE49-F238E27FC236}">
                  <a16:creationId xmlns:a16="http://schemas.microsoft.com/office/drawing/2014/main" id="{493DC188-5367-4EDC-9171-C6332D7031C4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10080820"/>
                <a:gd name="adj2" fmla="val 21286878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42EFB4E2-E6DC-481F-9CD7-B41C1C8C7626}"/>
                </a:ext>
              </a:extLst>
            </p:cNvPr>
            <p:cNvSpPr/>
            <p:nvPr userDrawn="1"/>
          </p:nvSpPr>
          <p:spPr>
            <a:xfrm>
              <a:off x="520700" y="1903602"/>
              <a:ext cx="2139897" cy="2139897"/>
            </a:xfrm>
            <a:prstGeom prst="arc">
              <a:avLst>
                <a:gd name="adj1" fmla="val 373939"/>
                <a:gd name="adj2" fmla="val 9969063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1A0856A-37FD-44C7-AA5F-A1D4D5ACB765}"/>
              </a:ext>
            </a:extLst>
          </p:cNvPr>
          <p:cNvGrpSpPr/>
          <p:nvPr userDrawn="1"/>
        </p:nvGrpSpPr>
        <p:grpSpPr>
          <a:xfrm>
            <a:off x="3524269" y="1903604"/>
            <a:ext cx="2139897" cy="2139897"/>
            <a:chOff x="2762225" y="1903602"/>
            <a:chExt cx="2139897" cy="2139897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95B21021-F56D-4DE0-9556-7A88E088DE82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11152410"/>
                <a:gd name="adj2" fmla="val 21262236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FF2A0780-162E-4178-8D44-C087E927A225}"/>
                </a:ext>
              </a:extLst>
            </p:cNvPr>
            <p:cNvSpPr/>
            <p:nvPr userDrawn="1"/>
          </p:nvSpPr>
          <p:spPr>
            <a:xfrm>
              <a:off x="2762225" y="1903602"/>
              <a:ext cx="2139897" cy="2139897"/>
            </a:xfrm>
            <a:prstGeom prst="arc">
              <a:avLst>
                <a:gd name="adj1" fmla="val 350464"/>
                <a:gd name="adj2" fmla="val 10463156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B0AD2A-1463-4F47-A663-78BB0891AE5C}"/>
              </a:ext>
            </a:extLst>
          </p:cNvPr>
          <p:cNvGrpSpPr/>
          <p:nvPr userDrawn="1"/>
        </p:nvGrpSpPr>
        <p:grpSpPr>
          <a:xfrm>
            <a:off x="6527837" y="1903604"/>
            <a:ext cx="2139897" cy="2139897"/>
            <a:chOff x="5003751" y="1903602"/>
            <a:chExt cx="2139897" cy="2139897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A2D6F3-CF09-4BE0-994B-0318B344227F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11169507"/>
                <a:gd name="adj2" fmla="val 21304215"/>
              </a:avLst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9CBFA4DF-3824-4C0B-B38C-1ABCECDE4DB6}"/>
                </a:ext>
              </a:extLst>
            </p:cNvPr>
            <p:cNvSpPr/>
            <p:nvPr userDrawn="1"/>
          </p:nvSpPr>
          <p:spPr>
            <a:xfrm>
              <a:off x="5003751" y="1903602"/>
              <a:ext cx="2139897" cy="2139897"/>
            </a:xfrm>
            <a:prstGeom prst="arc">
              <a:avLst>
                <a:gd name="adj1" fmla="val 471098"/>
                <a:gd name="adj2" fmla="val 10441694"/>
              </a:avLst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1588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1515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24269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27837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5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4594216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759778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06680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0" name="Arrow: Right 8">
            <a:extLst>
              <a:ext uri="{FF2B5EF4-FFF2-40B4-BE49-F238E27FC236}">
                <a16:creationId xmlns:a16="http://schemas.microsoft.com/office/drawing/2014/main" id="{621F2E5B-F1E7-465D-9DB0-B237ADED9E13}"/>
              </a:ext>
            </a:extLst>
          </p:cNvPr>
          <p:cNvSpPr/>
          <p:nvPr userDrawn="1"/>
        </p:nvSpPr>
        <p:spPr>
          <a:xfrm>
            <a:off x="406908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2" name="Arrow: Right 8">
            <a:extLst>
              <a:ext uri="{FF2B5EF4-FFF2-40B4-BE49-F238E27FC236}">
                <a16:creationId xmlns:a16="http://schemas.microsoft.com/office/drawing/2014/main" id="{50D401B0-9438-4DA9-9487-79C8089E19A9}"/>
              </a:ext>
            </a:extLst>
          </p:cNvPr>
          <p:cNvSpPr/>
          <p:nvPr userDrawn="1"/>
        </p:nvSpPr>
        <p:spPr>
          <a:xfrm>
            <a:off x="7071361" y="2764342"/>
            <a:ext cx="2745315" cy="418421"/>
          </a:xfrm>
          <a:custGeom>
            <a:avLst/>
            <a:gdLst>
              <a:gd name="connsiteX0" fmla="*/ 0 w 2745315"/>
              <a:gd name="connsiteY0" fmla="*/ 104605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  <a:gd name="connsiteX7" fmla="*/ 0 w 2745315"/>
              <a:gd name="connsiteY7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0 w 2745315"/>
              <a:gd name="connsiteY8" fmla="*/ 10460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8" fmla="*/ 91440 w 2745315"/>
              <a:gd name="connsiteY8" fmla="*/ 196045 h 418421"/>
              <a:gd name="connsiteX0" fmla="*/ 0 w 2745315"/>
              <a:gd name="connsiteY0" fmla="*/ 104605 h 418421"/>
              <a:gd name="connsiteX1" fmla="*/ 1581150 w 2745315"/>
              <a:gd name="connsiteY1" fmla="*/ 104590 h 418421"/>
              <a:gd name="connsiteX2" fmla="*/ 2536105 w 2745315"/>
              <a:gd name="connsiteY2" fmla="*/ 104605 h 418421"/>
              <a:gd name="connsiteX3" fmla="*/ 2536105 w 2745315"/>
              <a:gd name="connsiteY3" fmla="*/ 0 h 418421"/>
              <a:gd name="connsiteX4" fmla="*/ 2745315 w 2745315"/>
              <a:gd name="connsiteY4" fmla="*/ 209211 h 418421"/>
              <a:gd name="connsiteX5" fmla="*/ 2536105 w 2745315"/>
              <a:gd name="connsiteY5" fmla="*/ 418421 h 418421"/>
              <a:gd name="connsiteX6" fmla="*/ 2536105 w 2745315"/>
              <a:gd name="connsiteY6" fmla="*/ 313816 h 418421"/>
              <a:gd name="connsiteX7" fmla="*/ 0 w 2745315"/>
              <a:gd name="connsiteY7" fmla="*/ 313816 h 418421"/>
              <a:gd name="connsiteX0" fmla="*/ 1581150 w 2745315"/>
              <a:gd name="connsiteY0" fmla="*/ 104590 h 418421"/>
              <a:gd name="connsiteX1" fmla="*/ 2536105 w 2745315"/>
              <a:gd name="connsiteY1" fmla="*/ 104605 h 418421"/>
              <a:gd name="connsiteX2" fmla="*/ 2536105 w 2745315"/>
              <a:gd name="connsiteY2" fmla="*/ 0 h 418421"/>
              <a:gd name="connsiteX3" fmla="*/ 2745315 w 2745315"/>
              <a:gd name="connsiteY3" fmla="*/ 209211 h 418421"/>
              <a:gd name="connsiteX4" fmla="*/ 2536105 w 2745315"/>
              <a:gd name="connsiteY4" fmla="*/ 418421 h 418421"/>
              <a:gd name="connsiteX5" fmla="*/ 2536105 w 2745315"/>
              <a:gd name="connsiteY5" fmla="*/ 313816 h 418421"/>
              <a:gd name="connsiteX6" fmla="*/ 0 w 2745315"/>
              <a:gd name="connsiteY6" fmla="*/ 313816 h 41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5315" h="418421">
                <a:moveTo>
                  <a:pt x="1581150" y="104590"/>
                </a:moveTo>
                <a:lnTo>
                  <a:pt x="2536105" y="104605"/>
                </a:lnTo>
                <a:lnTo>
                  <a:pt x="2536105" y="0"/>
                </a:lnTo>
                <a:lnTo>
                  <a:pt x="2745315" y="209211"/>
                </a:lnTo>
                <a:lnTo>
                  <a:pt x="2536105" y="418421"/>
                </a:lnTo>
                <a:lnTo>
                  <a:pt x="2536105" y="313816"/>
                </a:lnTo>
                <a:lnTo>
                  <a:pt x="0" y="313816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3516593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FF53719-C8BB-4A8C-A2A8-5A55448EC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020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B58FC142-C162-476F-96BB-BFC5E1F280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701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493DC188-5367-4EDC-9171-C6332D7031C4}"/>
              </a:ext>
            </a:extLst>
          </p:cNvPr>
          <p:cNvSpPr/>
          <p:nvPr userDrawn="1"/>
        </p:nvSpPr>
        <p:spPr>
          <a:xfrm>
            <a:off x="520701" y="1903604"/>
            <a:ext cx="2139897" cy="2139897"/>
          </a:xfrm>
          <a:prstGeom prst="arc">
            <a:avLst>
              <a:gd name="adj1" fmla="val 10080820"/>
              <a:gd name="adj2" fmla="val 21286878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42EFB4E2-E6DC-481F-9CD7-B41C1C8C7626}"/>
              </a:ext>
            </a:extLst>
          </p:cNvPr>
          <p:cNvSpPr/>
          <p:nvPr userDrawn="1"/>
        </p:nvSpPr>
        <p:spPr>
          <a:xfrm>
            <a:off x="520701" y="1903604"/>
            <a:ext cx="2139897" cy="2139897"/>
          </a:xfrm>
          <a:prstGeom prst="arc">
            <a:avLst>
              <a:gd name="adj1" fmla="val 373939"/>
              <a:gd name="adj2" fmla="val 9969063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627C318-38BE-487A-B370-E4A161F0DC19}"/>
              </a:ext>
            </a:extLst>
          </p:cNvPr>
          <p:cNvSpPr/>
          <p:nvPr userDrawn="1"/>
        </p:nvSpPr>
        <p:spPr>
          <a:xfrm>
            <a:off x="1350587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95B21021-F56D-4DE0-9556-7A88E088DE82}"/>
              </a:ext>
            </a:extLst>
          </p:cNvPr>
          <p:cNvSpPr/>
          <p:nvPr userDrawn="1"/>
        </p:nvSpPr>
        <p:spPr>
          <a:xfrm>
            <a:off x="2762226" y="1903604"/>
            <a:ext cx="2139897" cy="2139897"/>
          </a:xfrm>
          <a:prstGeom prst="arc">
            <a:avLst>
              <a:gd name="adj1" fmla="val 11152410"/>
              <a:gd name="adj2" fmla="val 21262236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FF2A0780-162E-4178-8D44-C087E927A225}"/>
              </a:ext>
            </a:extLst>
          </p:cNvPr>
          <p:cNvSpPr/>
          <p:nvPr userDrawn="1"/>
        </p:nvSpPr>
        <p:spPr>
          <a:xfrm>
            <a:off x="2762226" y="1903604"/>
            <a:ext cx="2139897" cy="2139897"/>
          </a:xfrm>
          <a:prstGeom prst="arc">
            <a:avLst>
              <a:gd name="adj1" fmla="val 350464"/>
              <a:gd name="adj2" fmla="val 10463156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41" name="Arrow: Right 8">
            <a:extLst>
              <a:ext uri="{FF2B5EF4-FFF2-40B4-BE49-F238E27FC236}">
                <a16:creationId xmlns:a16="http://schemas.microsoft.com/office/drawing/2014/main" id="{773A68BC-F081-4B3D-B7C7-F037E3A67F28}"/>
              </a:ext>
            </a:extLst>
          </p:cNvPr>
          <p:cNvSpPr/>
          <p:nvPr userDrawn="1"/>
        </p:nvSpPr>
        <p:spPr>
          <a:xfrm>
            <a:off x="3653037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5FA2D6F3-CF09-4BE0-994B-0318B344227F}"/>
              </a:ext>
            </a:extLst>
          </p:cNvPr>
          <p:cNvSpPr/>
          <p:nvPr userDrawn="1"/>
        </p:nvSpPr>
        <p:spPr>
          <a:xfrm>
            <a:off x="5003753" y="1903604"/>
            <a:ext cx="2139897" cy="2139897"/>
          </a:xfrm>
          <a:prstGeom prst="arc">
            <a:avLst>
              <a:gd name="adj1" fmla="val 11169507"/>
              <a:gd name="adj2" fmla="val 21304215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6" name="Arc 45">
            <a:extLst>
              <a:ext uri="{FF2B5EF4-FFF2-40B4-BE49-F238E27FC236}">
                <a16:creationId xmlns:a16="http://schemas.microsoft.com/office/drawing/2014/main" id="{9CBFA4DF-3824-4C0B-B38C-1ABCECDE4DB6}"/>
              </a:ext>
            </a:extLst>
          </p:cNvPr>
          <p:cNvSpPr/>
          <p:nvPr userDrawn="1"/>
        </p:nvSpPr>
        <p:spPr>
          <a:xfrm>
            <a:off x="5003753" y="1903604"/>
            <a:ext cx="2139897" cy="2139897"/>
          </a:xfrm>
          <a:prstGeom prst="arc">
            <a:avLst>
              <a:gd name="adj1" fmla="val 471098"/>
              <a:gd name="adj2" fmla="val 10441694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7" name="Arrow: Right 8">
            <a:extLst>
              <a:ext uri="{FF2B5EF4-FFF2-40B4-BE49-F238E27FC236}">
                <a16:creationId xmlns:a16="http://schemas.microsoft.com/office/drawing/2014/main" id="{BB6C3DB8-880F-4DB8-B2F6-337F583E62FE}"/>
              </a:ext>
            </a:extLst>
          </p:cNvPr>
          <p:cNvSpPr/>
          <p:nvPr userDrawn="1"/>
        </p:nvSpPr>
        <p:spPr>
          <a:xfrm>
            <a:off x="5856484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48" name="Arc 47">
            <a:extLst>
              <a:ext uri="{FF2B5EF4-FFF2-40B4-BE49-F238E27FC236}">
                <a16:creationId xmlns:a16="http://schemas.microsoft.com/office/drawing/2014/main" id="{D8A565E5-4ADC-46DD-A654-7BA94F97D916}"/>
              </a:ext>
            </a:extLst>
          </p:cNvPr>
          <p:cNvSpPr/>
          <p:nvPr userDrawn="1"/>
        </p:nvSpPr>
        <p:spPr>
          <a:xfrm>
            <a:off x="7245277" y="1903604"/>
            <a:ext cx="2139897" cy="2139897"/>
          </a:xfrm>
          <a:prstGeom prst="arc">
            <a:avLst>
              <a:gd name="adj1" fmla="val 11109170"/>
              <a:gd name="adj2" fmla="val 21204980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7CD4BCCD-EA8A-4382-B873-E1769F7F58B3}"/>
              </a:ext>
            </a:extLst>
          </p:cNvPr>
          <p:cNvSpPr/>
          <p:nvPr userDrawn="1"/>
        </p:nvSpPr>
        <p:spPr>
          <a:xfrm>
            <a:off x="7245277" y="1903604"/>
            <a:ext cx="2139897" cy="2139897"/>
          </a:xfrm>
          <a:prstGeom prst="arc">
            <a:avLst>
              <a:gd name="adj1" fmla="val 349057"/>
              <a:gd name="adj2" fmla="val 1044865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800"/>
          </a:p>
        </p:txBody>
      </p:sp>
      <p:sp>
        <p:nvSpPr>
          <p:cNvPr id="56" name="Arrow: Right 8">
            <a:extLst>
              <a:ext uri="{FF2B5EF4-FFF2-40B4-BE49-F238E27FC236}">
                <a16:creationId xmlns:a16="http://schemas.microsoft.com/office/drawing/2014/main" id="{9EBF435E-87F3-4EF4-B669-6035B3A1880E}"/>
              </a:ext>
            </a:extLst>
          </p:cNvPr>
          <p:cNvSpPr/>
          <p:nvPr userDrawn="1"/>
        </p:nvSpPr>
        <p:spPr>
          <a:xfrm>
            <a:off x="8136088" y="2764342"/>
            <a:ext cx="1769408" cy="418421"/>
          </a:xfrm>
          <a:custGeom>
            <a:avLst/>
            <a:gdLst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0 w 980440"/>
              <a:gd name="connsiteY7" fmla="*/ 18669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7" fmla="*/ 91440 w 980440"/>
              <a:gd name="connsiteY7" fmla="*/ 278133 h 746771"/>
              <a:gd name="connsiteX0" fmla="*/ 0 w 980440"/>
              <a:gd name="connsiteY0" fmla="*/ 186693 h 746771"/>
              <a:gd name="connsiteX1" fmla="*/ 607055 w 980440"/>
              <a:gd name="connsiteY1" fmla="*/ 186693 h 746771"/>
              <a:gd name="connsiteX2" fmla="*/ 607055 w 980440"/>
              <a:gd name="connsiteY2" fmla="*/ 0 h 746771"/>
              <a:gd name="connsiteX3" fmla="*/ 980440 w 980440"/>
              <a:gd name="connsiteY3" fmla="*/ 373386 h 746771"/>
              <a:gd name="connsiteX4" fmla="*/ 607055 w 980440"/>
              <a:gd name="connsiteY4" fmla="*/ 746771 h 746771"/>
              <a:gd name="connsiteX5" fmla="*/ 607055 w 980440"/>
              <a:gd name="connsiteY5" fmla="*/ 560078 h 746771"/>
              <a:gd name="connsiteX6" fmla="*/ 0 w 980440"/>
              <a:gd name="connsiteY6" fmla="*/ 56007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75318 h 746771"/>
              <a:gd name="connsiteX0" fmla="*/ 1615440 w 2595880"/>
              <a:gd name="connsiteY0" fmla="*/ 186693 h 746771"/>
              <a:gd name="connsiteX1" fmla="*/ 2222495 w 2595880"/>
              <a:gd name="connsiteY1" fmla="*/ 186693 h 746771"/>
              <a:gd name="connsiteX2" fmla="*/ 2222495 w 2595880"/>
              <a:gd name="connsiteY2" fmla="*/ 0 h 746771"/>
              <a:gd name="connsiteX3" fmla="*/ 2595880 w 2595880"/>
              <a:gd name="connsiteY3" fmla="*/ 373386 h 746771"/>
              <a:gd name="connsiteX4" fmla="*/ 2222495 w 2595880"/>
              <a:gd name="connsiteY4" fmla="*/ 746771 h 746771"/>
              <a:gd name="connsiteX5" fmla="*/ 2222495 w 2595880"/>
              <a:gd name="connsiteY5" fmla="*/ 560078 h 746771"/>
              <a:gd name="connsiteX6" fmla="*/ 0 w 2595880"/>
              <a:gd name="connsiteY6" fmla="*/ 56515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494038 h 746771"/>
              <a:gd name="connsiteX0" fmla="*/ 1610360 w 2590800"/>
              <a:gd name="connsiteY0" fmla="*/ 186693 h 746771"/>
              <a:gd name="connsiteX1" fmla="*/ 2217415 w 2590800"/>
              <a:gd name="connsiteY1" fmla="*/ 186693 h 746771"/>
              <a:gd name="connsiteX2" fmla="*/ 2217415 w 2590800"/>
              <a:gd name="connsiteY2" fmla="*/ 0 h 746771"/>
              <a:gd name="connsiteX3" fmla="*/ 2590800 w 2590800"/>
              <a:gd name="connsiteY3" fmla="*/ 373386 h 746771"/>
              <a:gd name="connsiteX4" fmla="*/ 2217415 w 2590800"/>
              <a:gd name="connsiteY4" fmla="*/ 746771 h 746771"/>
              <a:gd name="connsiteX5" fmla="*/ 2217415 w 2590800"/>
              <a:gd name="connsiteY5" fmla="*/ 560078 h 746771"/>
              <a:gd name="connsiteX6" fmla="*/ 0 w 2590800"/>
              <a:gd name="connsiteY6" fmla="*/ 570238 h 746771"/>
              <a:gd name="connsiteX0" fmla="*/ 2177496 w 3157936"/>
              <a:gd name="connsiteY0" fmla="*/ 186693 h 746771"/>
              <a:gd name="connsiteX1" fmla="*/ 2784551 w 3157936"/>
              <a:gd name="connsiteY1" fmla="*/ 186693 h 746771"/>
              <a:gd name="connsiteX2" fmla="*/ 2784551 w 3157936"/>
              <a:gd name="connsiteY2" fmla="*/ 0 h 746771"/>
              <a:gd name="connsiteX3" fmla="*/ 3157936 w 3157936"/>
              <a:gd name="connsiteY3" fmla="*/ 373386 h 746771"/>
              <a:gd name="connsiteX4" fmla="*/ 2784551 w 3157936"/>
              <a:gd name="connsiteY4" fmla="*/ 746771 h 746771"/>
              <a:gd name="connsiteX5" fmla="*/ 2784551 w 3157936"/>
              <a:gd name="connsiteY5" fmla="*/ 560078 h 746771"/>
              <a:gd name="connsiteX6" fmla="*/ 0 w 3157936"/>
              <a:gd name="connsiteY6" fmla="*/ 570238 h 74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7936" h="746771">
                <a:moveTo>
                  <a:pt x="2177496" y="186693"/>
                </a:moveTo>
                <a:lnTo>
                  <a:pt x="2784551" y="186693"/>
                </a:lnTo>
                <a:lnTo>
                  <a:pt x="2784551" y="0"/>
                </a:lnTo>
                <a:lnTo>
                  <a:pt x="3157936" y="373386"/>
                </a:lnTo>
                <a:lnTo>
                  <a:pt x="2784551" y="746771"/>
                </a:lnTo>
                <a:lnTo>
                  <a:pt x="2784551" y="560078"/>
                </a:lnTo>
                <a:lnTo>
                  <a:pt x="0" y="570238"/>
                </a:ln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7" name="Arc 56">
            <a:extLst>
              <a:ext uri="{FF2B5EF4-FFF2-40B4-BE49-F238E27FC236}">
                <a16:creationId xmlns:a16="http://schemas.microsoft.com/office/drawing/2014/main" id="{A8EE1277-FE82-4822-A85D-B1B0E940EA07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11169507"/>
              <a:gd name="adj2" fmla="val 146547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A6455670-9200-4075-8FD1-258D64C3BC53}"/>
              </a:ext>
            </a:extLst>
          </p:cNvPr>
          <p:cNvSpPr/>
          <p:nvPr userDrawn="1"/>
        </p:nvSpPr>
        <p:spPr>
          <a:xfrm>
            <a:off x="9531405" y="1903604"/>
            <a:ext cx="2139897" cy="2139897"/>
          </a:xfrm>
          <a:prstGeom prst="arc">
            <a:avLst>
              <a:gd name="adj1" fmla="val 21586752"/>
              <a:gd name="adj2" fmla="val 10460422"/>
            </a:avLst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9" name="Text Placeholder 20">
            <a:extLst>
              <a:ext uri="{FF2B5EF4-FFF2-40B4-BE49-F238E27FC236}">
                <a16:creationId xmlns:a16="http://schemas.microsoft.com/office/drawing/2014/main" id="{93D125A3-FE88-471A-B8F0-E6658064BC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9545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0" name="Text Placeholder 20">
            <a:extLst>
              <a:ext uri="{FF2B5EF4-FFF2-40B4-BE49-F238E27FC236}">
                <a16:creationId xmlns:a16="http://schemas.microsoft.com/office/drawing/2014/main" id="{C549A8A3-BB0C-4101-A046-583DF42604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071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1" name="Text Placeholder 20">
            <a:extLst>
              <a:ext uri="{FF2B5EF4-FFF2-40B4-BE49-F238E27FC236}">
                <a16:creationId xmlns:a16="http://schemas.microsoft.com/office/drawing/2014/main" id="{667F4ED1-0A00-45A4-8E1F-9AFC0468DB9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32596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2" name="Text Placeholder 20">
            <a:extLst>
              <a:ext uri="{FF2B5EF4-FFF2-40B4-BE49-F238E27FC236}">
                <a16:creationId xmlns:a16="http://schemas.microsoft.com/office/drawing/2014/main" id="{25CBF8A6-65A4-4273-B853-F7256AC4B4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18723" y="2316494"/>
            <a:ext cx="1765256" cy="72713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Month Here</a:t>
            </a:r>
            <a:endParaRPr lang="en-GB"/>
          </a:p>
        </p:txBody>
      </p:sp>
      <p:sp>
        <p:nvSpPr>
          <p:cNvPr id="63" name="Text Placeholder 20">
            <a:extLst>
              <a:ext uri="{FF2B5EF4-FFF2-40B4-BE49-F238E27FC236}">
                <a16:creationId xmlns:a16="http://schemas.microsoft.com/office/drawing/2014/main" id="{49AB2AAA-8826-4084-A6B6-6474D4FFA6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62226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4" name="Text Placeholder 20">
            <a:extLst>
              <a:ext uri="{FF2B5EF4-FFF2-40B4-BE49-F238E27FC236}">
                <a16:creationId xmlns:a16="http://schemas.microsoft.com/office/drawing/2014/main" id="{F8551EBC-A275-4920-A819-8AFBCDEDC9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3753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7878DBEA-7979-481E-9B73-D30CA615B6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45277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sp>
        <p:nvSpPr>
          <p:cNvPr id="66" name="Text Placeholder 20">
            <a:extLst>
              <a:ext uri="{FF2B5EF4-FFF2-40B4-BE49-F238E27FC236}">
                <a16:creationId xmlns:a16="http://schemas.microsoft.com/office/drawing/2014/main" id="{2D2456DD-4B4A-46C1-A8F5-E7995E9860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31405" y="4625327"/>
            <a:ext cx="2139897" cy="1569098"/>
          </a:xfrm>
        </p:spPr>
        <p:txBody>
          <a:bodyPr anchor="t">
            <a:no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Text He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35CF23-A26D-4C47-AD71-9D9EE3B46B5A}"/>
              </a:ext>
            </a:extLst>
          </p:cNvPr>
          <p:cNvCxnSpPr>
            <a:cxnSpLocks/>
            <a:endCxn id="22" idx="0"/>
          </p:cNvCxnSpPr>
          <p:nvPr userDrawn="1"/>
        </p:nvCxnSpPr>
        <p:spPr>
          <a:xfrm flipH="1">
            <a:off x="159064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77DF217-1963-4708-B85C-BA7DF0EAB5B2}"/>
              </a:ext>
            </a:extLst>
          </p:cNvPr>
          <p:cNvCxnSpPr>
            <a:cxnSpLocks/>
          </p:cNvCxnSpPr>
          <p:nvPr userDrawn="1"/>
        </p:nvCxnSpPr>
        <p:spPr>
          <a:xfrm flipH="1">
            <a:off x="3832173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D55F1E5-BAEB-4FB2-8348-E3FE03A143B3}"/>
              </a:ext>
            </a:extLst>
          </p:cNvPr>
          <p:cNvCxnSpPr>
            <a:cxnSpLocks/>
          </p:cNvCxnSpPr>
          <p:nvPr userDrawn="1"/>
        </p:nvCxnSpPr>
        <p:spPr>
          <a:xfrm flipH="1">
            <a:off x="6073699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82E0D59-139E-4EB9-9B08-B004BCD376D2}"/>
              </a:ext>
            </a:extLst>
          </p:cNvPr>
          <p:cNvCxnSpPr>
            <a:cxnSpLocks/>
          </p:cNvCxnSpPr>
          <p:nvPr userDrawn="1"/>
        </p:nvCxnSpPr>
        <p:spPr>
          <a:xfrm flipH="1">
            <a:off x="8315224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17CC174-37AA-4FA5-B57F-C710AADE5B29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01351" y="4043499"/>
            <a:ext cx="0" cy="58182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15693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54692DDE-8E18-4393-BAA0-EEAF401094A3}"/>
              </a:ext>
            </a:extLst>
          </p:cNvPr>
          <p:cNvSpPr/>
          <p:nvPr userDrawn="1"/>
        </p:nvSpPr>
        <p:spPr>
          <a:xfrm>
            <a:off x="482195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428C0528-C3D0-4014-9B8E-4B2177F3290F}"/>
              </a:ext>
            </a:extLst>
          </p:cNvPr>
          <p:cNvSpPr/>
          <p:nvPr userDrawn="1"/>
        </p:nvSpPr>
        <p:spPr>
          <a:xfrm>
            <a:off x="1724288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ADD4E0DD-C593-47CC-9335-430F6B5E6C65}"/>
              </a:ext>
            </a:extLst>
          </p:cNvPr>
          <p:cNvSpPr/>
          <p:nvPr userDrawn="1"/>
        </p:nvSpPr>
        <p:spPr>
          <a:xfrm>
            <a:off x="2966383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38" name="Parallelogram 37">
            <a:extLst>
              <a:ext uri="{FF2B5EF4-FFF2-40B4-BE49-F238E27FC236}">
                <a16:creationId xmlns:a16="http://schemas.microsoft.com/office/drawing/2014/main" id="{7A87CE15-89C2-4758-A6EB-DBB50A2B133B}"/>
              </a:ext>
            </a:extLst>
          </p:cNvPr>
          <p:cNvSpPr/>
          <p:nvPr userDrawn="1"/>
        </p:nvSpPr>
        <p:spPr>
          <a:xfrm>
            <a:off x="4208476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0" name="Parallelogram 39">
            <a:extLst>
              <a:ext uri="{FF2B5EF4-FFF2-40B4-BE49-F238E27FC236}">
                <a16:creationId xmlns:a16="http://schemas.microsoft.com/office/drawing/2014/main" id="{47536C97-010F-4905-B90F-F3297AEF464F}"/>
              </a:ext>
            </a:extLst>
          </p:cNvPr>
          <p:cNvSpPr/>
          <p:nvPr userDrawn="1"/>
        </p:nvSpPr>
        <p:spPr>
          <a:xfrm>
            <a:off x="5450571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0BFAD1D6-B09A-40D8-AAAD-AB6D68EA9F4A}"/>
              </a:ext>
            </a:extLst>
          </p:cNvPr>
          <p:cNvSpPr/>
          <p:nvPr userDrawn="1"/>
        </p:nvSpPr>
        <p:spPr>
          <a:xfrm>
            <a:off x="6692664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A07A4C47-E0A6-4585-83AA-690D8B9D4973}"/>
              </a:ext>
            </a:extLst>
          </p:cNvPr>
          <p:cNvSpPr/>
          <p:nvPr userDrawn="1"/>
        </p:nvSpPr>
        <p:spPr>
          <a:xfrm>
            <a:off x="7934759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44" name="Parallelogram 43">
            <a:extLst>
              <a:ext uri="{FF2B5EF4-FFF2-40B4-BE49-F238E27FC236}">
                <a16:creationId xmlns:a16="http://schemas.microsoft.com/office/drawing/2014/main" id="{E8A95459-78A4-4D93-B6BF-FE8DE7321626}"/>
              </a:ext>
            </a:extLst>
          </p:cNvPr>
          <p:cNvSpPr/>
          <p:nvPr userDrawn="1"/>
        </p:nvSpPr>
        <p:spPr>
          <a:xfrm>
            <a:off x="9176852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80" name="Parallelogram 79">
            <a:extLst>
              <a:ext uri="{FF2B5EF4-FFF2-40B4-BE49-F238E27FC236}">
                <a16:creationId xmlns:a16="http://schemas.microsoft.com/office/drawing/2014/main" id="{73D0C8F0-5E5B-45B0-87E0-652B0F6AFA6F}"/>
              </a:ext>
            </a:extLst>
          </p:cNvPr>
          <p:cNvSpPr/>
          <p:nvPr userDrawn="1"/>
        </p:nvSpPr>
        <p:spPr>
          <a:xfrm>
            <a:off x="10418947" y="1874520"/>
            <a:ext cx="1290864" cy="36068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052B8FFD-4438-40D0-A9C6-C55C2B3D9FAB}"/>
              </a:ext>
            </a:extLst>
          </p:cNvPr>
          <p:cNvSpPr/>
          <p:nvPr userDrawn="1"/>
        </p:nvSpPr>
        <p:spPr>
          <a:xfrm>
            <a:off x="1" y="1874520"/>
            <a:ext cx="530964" cy="360680"/>
          </a:xfrm>
          <a:custGeom>
            <a:avLst/>
            <a:gdLst>
              <a:gd name="connsiteX0" fmla="*/ 0 w 530964"/>
              <a:gd name="connsiteY0" fmla="*/ 0 h 360680"/>
              <a:gd name="connsiteX1" fmla="*/ 530964 w 530964"/>
              <a:gd name="connsiteY1" fmla="*/ 0 h 360680"/>
              <a:gd name="connsiteX2" fmla="*/ 440794 w 530964"/>
              <a:gd name="connsiteY2" fmla="*/ 360680 h 360680"/>
              <a:gd name="connsiteX3" fmla="*/ 0 w 530964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4" h="360680">
                <a:moveTo>
                  <a:pt x="0" y="0"/>
                </a:moveTo>
                <a:lnTo>
                  <a:pt x="530964" y="0"/>
                </a:lnTo>
                <a:lnTo>
                  <a:pt x="440794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9F8236E-F46A-4EC3-B302-7A01BC6DEEC2}"/>
              </a:ext>
            </a:extLst>
          </p:cNvPr>
          <p:cNvSpPr/>
          <p:nvPr userDrawn="1"/>
        </p:nvSpPr>
        <p:spPr>
          <a:xfrm>
            <a:off x="11661037" y="1874520"/>
            <a:ext cx="530963" cy="360680"/>
          </a:xfrm>
          <a:custGeom>
            <a:avLst/>
            <a:gdLst>
              <a:gd name="connsiteX0" fmla="*/ 90170 w 530963"/>
              <a:gd name="connsiteY0" fmla="*/ 0 h 360680"/>
              <a:gd name="connsiteX1" fmla="*/ 530963 w 530963"/>
              <a:gd name="connsiteY1" fmla="*/ 0 h 360680"/>
              <a:gd name="connsiteX2" fmla="*/ 530963 w 530963"/>
              <a:gd name="connsiteY2" fmla="*/ 360680 h 360680"/>
              <a:gd name="connsiteX3" fmla="*/ 0 w 530963"/>
              <a:gd name="connsiteY3" fmla="*/ 360680 h 36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963" h="360680">
                <a:moveTo>
                  <a:pt x="90170" y="0"/>
                </a:moveTo>
                <a:lnTo>
                  <a:pt x="530963" y="0"/>
                </a:lnTo>
                <a:lnTo>
                  <a:pt x="530963" y="360680"/>
                </a:lnTo>
                <a:lnTo>
                  <a:pt x="0" y="360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3928" y="1874520"/>
            <a:ext cx="1087392" cy="360680"/>
          </a:xfrm>
          <a:noFill/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825652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067747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309840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4" name="Text Placeholder 11">
            <a:extLst>
              <a:ext uri="{FF2B5EF4-FFF2-40B4-BE49-F238E27FC236}">
                <a16:creationId xmlns:a16="http://schemas.microsoft.com/office/drawing/2014/main" id="{B1F59F6D-A456-4FB3-AF7C-6EEF30B07580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551935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5" name="Text Placeholder 11">
            <a:extLst>
              <a:ext uri="{FF2B5EF4-FFF2-40B4-BE49-F238E27FC236}">
                <a16:creationId xmlns:a16="http://schemas.microsoft.com/office/drawing/2014/main" id="{D3368D37-0BE1-4151-84D7-7E90FE4FA7F9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94028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DC8CE767-0D4B-477D-8748-DAB458F64A1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8036123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4550DA06-2D1B-40D3-9AC0-5C6B7AE2F8D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9278216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4D64A8-C48C-4BA2-B4EB-EC1395CFBFAF}"/>
              </a:ext>
            </a:extLst>
          </p:cNvPr>
          <p:cNvCxnSpPr/>
          <p:nvPr userDrawn="1"/>
        </p:nvCxnSpPr>
        <p:spPr>
          <a:xfrm>
            <a:off x="0" y="2664459"/>
            <a:ext cx="12192000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Placeholder 11">
            <a:extLst>
              <a:ext uri="{FF2B5EF4-FFF2-40B4-BE49-F238E27FC236}">
                <a16:creationId xmlns:a16="http://schemas.microsoft.com/office/drawing/2014/main" id="{9B6B2DA0-674F-4876-B749-F9F6654ED6C9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851735" y="2556737"/>
            <a:ext cx="488532" cy="215444"/>
          </a:xfrm>
          <a:solidFill>
            <a:schemeClr val="bg1"/>
          </a:solidFill>
        </p:spPr>
        <p:txBody>
          <a:bodyPr wrap="none" lIns="91440" tIns="0" rIns="9144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829301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8041" y="5831521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81" name="Text Placeholder 11">
            <a:extLst>
              <a:ext uri="{FF2B5EF4-FFF2-40B4-BE49-F238E27FC236}">
                <a16:creationId xmlns:a16="http://schemas.microsoft.com/office/drawing/2014/main" id="{3E4FB6FC-3D8B-482F-B69D-5BA27682D1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20311" y="1874520"/>
            <a:ext cx="1088136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2229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A00F4FD-709E-451C-ADB6-04EFB379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ACF041-8494-472F-B72E-6257600A9D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700" y="2270326"/>
            <a:ext cx="265176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4BF6A3EE-871A-404A-A6F0-1DE208BCC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647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FADA030C-FE02-4C1D-8418-5589CC9891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595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89ED5C88-D75D-494B-B399-50FA6FAD19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19540" y="2270326"/>
            <a:ext cx="265176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7FCE76-C532-422B-BADD-28E6B9AE27D2}"/>
              </a:ext>
            </a:extLst>
          </p:cNvPr>
          <p:cNvSpPr/>
          <p:nvPr userDrawn="1"/>
        </p:nvSpPr>
        <p:spPr>
          <a:xfrm>
            <a:off x="0" y="5422069"/>
            <a:ext cx="12192000" cy="365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9" name="Text Placeholder 11">
            <a:extLst>
              <a:ext uri="{FF2B5EF4-FFF2-40B4-BE49-F238E27FC236}">
                <a16:creationId xmlns:a16="http://schemas.microsoft.com/office/drawing/2014/main" id="{0AF3194A-0091-47FE-B115-D8E4315986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041" y="5424289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2F65CE9-0AA8-46E3-9C61-A205142A6B66}"/>
              </a:ext>
            </a:extLst>
          </p:cNvPr>
          <p:cNvSpPr/>
          <p:nvPr userDrawn="1"/>
        </p:nvSpPr>
        <p:spPr>
          <a:xfrm>
            <a:off x="0" y="1827244"/>
            <a:ext cx="12192000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B5D48AC6-4A34-4392-BB8B-0A53D8A0A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041" y="1829464"/>
            <a:ext cx="11153260" cy="36068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375962-7421-4021-BF93-21883DD0AFBE}"/>
              </a:ext>
            </a:extLst>
          </p:cNvPr>
          <p:cNvCxnSpPr>
            <a:cxnSpLocks/>
          </p:cNvCxnSpPr>
          <p:nvPr userDrawn="1"/>
        </p:nvCxnSpPr>
        <p:spPr>
          <a:xfrm flipH="1">
            <a:off x="3263053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0BC7B37-994C-4F34-B4C9-527F7EC20F71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6001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CFF737B-1B1B-4795-8DC7-391F3B183589}"/>
              </a:ext>
            </a:extLst>
          </p:cNvPr>
          <p:cNvCxnSpPr>
            <a:cxnSpLocks/>
          </p:cNvCxnSpPr>
          <p:nvPr userDrawn="1"/>
        </p:nvCxnSpPr>
        <p:spPr>
          <a:xfrm flipH="1">
            <a:off x="8928947" y="2270326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AE791AEA-40AD-411F-8591-00BF36D5A2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699" y="5833745"/>
            <a:ext cx="3657600" cy="36068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3EFC4851-E58D-4481-885F-454D4A8165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7199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47078168-E22A-48A7-98DF-B7057442E1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13700" y="5833745"/>
            <a:ext cx="3657600" cy="360680"/>
          </a:xfrm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CF50D3-C5E2-424E-B217-9CF96B84995D}"/>
              </a:ext>
            </a:extLst>
          </p:cNvPr>
          <p:cNvCxnSpPr>
            <a:cxnSpLocks/>
          </p:cNvCxnSpPr>
          <p:nvPr userDrawn="1"/>
        </p:nvCxnSpPr>
        <p:spPr>
          <a:xfrm flipH="1">
            <a:off x="42227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A75C15F-35F4-4557-AFF3-406399507C7F}"/>
              </a:ext>
            </a:extLst>
          </p:cNvPr>
          <p:cNvCxnSpPr>
            <a:cxnSpLocks/>
          </p:cNvCxnSpPr>
          <p:nvPr userDrawn="1"/>
        </p:nvCxnSpPr>
        <p:spPr>
          <a:xfrm flipH="1">
            <a:off x="7969249" y="5833745"/>
            <a:ext cx="0" cy="36068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B546578-8DE0-49E5-A215-70BB0C4129A2}"/>
              </a:ext>
            </a:extLst>
          </p:cNvPr>
          <p:cNvCxnSpPr>
            <a:cxnSpLocks/>
          </p:cNvCxnSpPr>
          <p:nvPr userDrawn="1"/>
        </p:nvCxnSpPr>
        <p:spPr>
          <a:xfrm>
            <a:off x="0" y="2970503"/>
            <a:ext cx="12192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D566B3A0-A6A9-4D90-B478-8D539D26E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070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E7D11FB8-7971-437B-9EA2-4A5637C164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25589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EA292649-C878-45CC-9616-C0FF6D1E37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048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63EDEFD3-B7F5-4C8B-862E-BD72843F14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35371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70B46E1D-E215-462A-B948-40BC98D9A5C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0260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6CF0F45F-628F-41D2-BE24-13E38FEA66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45148" y="2790163"/>
            <a:ext cx="1626152" cy="36068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Text</a:t>
            </a:r>
            <a:endParaRPr lang="en-GB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A05FFC-CB67-4DDE-B277-82EAA05C4494}"/>
              </a:ext>
            </a:extLst>
          </p:cNvPr>
          <p:cNvCxnSpPr>
            <a:cxnSpLocks/>
          </p:cNvCxnSpPr>
          <p:nvPr userDrawn="1"/>
        </p:nvCxnSpPr>
        <p:spPr>
          <a:xfrm>
            <a:off x="228622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F1926D0-A727-4D31-8824-A6284B1A03D8}"/>
              </a:ext>
            </a:extLst>
          </p:cNvPr>
          <p:cNvCxnSpPr>
            <a:cxnSpLocks/>
          </p:cNvCxnSpPr>
          <p:nvPr userDrawn="1"/>
        </p:nvCxnSpPr>
        <p:spPr>
          <a:xfrm>
            <a:off x="419111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00C79E0-99CE-4048-AFDA-ECE8092FA33E}"/>
              </a:ext>
            </a:extLst>
          </p:cNvPr>
          <p:cNvCxnSpPr>
            <a:cxnSpLocks/>
          </p:cNvCxnSpPr>
          <p:nvPr userDrawn="1"/>
        </p:nvCxnSpPr>
        <p:spPr>
          <a:xfrm>
            <a:off x="609600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619DDB3-9A57-4903-868F-D7C98470EEC5}"/>
              </a:ext>
            </a:extLst>
          </p:cNvPr>
          <p:cNvCxnSpPr>
            <a:cxnSpLocks/>
          </p:cNvCxnSpPr>
          <p:nvPr userDrawn="1"/>
        </p:nvCxnSpPr>
        <p:spPr>
          <a:xfrm>
            <a:off x="8000891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178D462-B5D3-4695-AAF1-8556BCD25D16}"/>
              </a:ext>
            </a:extLst>
          </p:cNvPr>
          <p:cNvCxnSpPr>
            <a:cxnSpLocks/>
          </p:cNvCxnSpPr>
          <p:nvPr userDrawn="1"/>
        </p:nvCxnSpPr>
        <p:spPr>
          <a:xfrm>
            <a:off x="9905780" y="3150845"/>
            <a:ext cx="0" cy="2106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8FDEF4-043D-41E9-9137-4C93C43CB8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7526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14F185F6-398C-446E-BBEE-7E0A66FB4BA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2455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ED56AE80-3C7D-43A2-9A7D-85200B3081D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32944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CBEC6DB8-8161-4D2E-8CDD-337081A298B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3433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BD6F564F-58A5-405A-A76F-6928617870D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39225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86F62A9C-4A83-4663-A752-B95A698A88E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044113" y="3340100"/>
            <a:ext cx="1627188" cy="1917700"/>
          </a:xfrm>
        </p:spPr>
        <p:txBody>
          <a:bodyPr tIns="0" bIns="0">
            <a:noAutofit/>
          </a:bodyPr>
          <a:lstStyle>
            <a:lvl1pPr marL="115885" indent="-115885">
              <a:defRPr sz="1200"/>
            </a:lvl1pPr>
            <a:lvl2pPr marL="285744" indent="-114297">
              <a:defRPr sz="1100"/>
            </a:lvl2pPr>
            <a:lvl3pPr marL="401629" indent="-117472">
              <a:defRPr sz="1051"/>
            </a:lvl3pPr>
            <a:lvl4pPr marL="573074" indent="-112711">
              <a:defRPr sz="1000"/>
            </a:lvl4pPr>
            <a:lvl5pPr marL="742932" indent="-112711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47017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365127"/>
            <a:ext cx="63373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C3C6A15-1E0F-435C-9F8D-D33A503BEF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64729" y="0"/>
            <a:ext cx="4801467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25923D1-16AF-4D35-9545-20F311021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9F8B0E-60EF-4612-8299-9B64C43A7B8F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1DA7B5-586D-487B-90B1-E0D23111B7E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A4FDF0-6D38-4AFF-AD4D-029375BDB96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5F6F31-48DF-4976-B60D-70E84125998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9756733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1" y="365127"/>
            <a:ext cx="63373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C3C6A15-1E0F-435C-9F8D-D33A503BEF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64729" y="0"/>
            <a:ext cx="4801467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25923D1-16AF-4D35-9545-20F311021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9F8B0E-60EF-4612-8299-9B64C43A7B8F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A1DA7B5-586D-487B-90B1-E0D23111B7E7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A4FDF0-6D38-4AFF-AD4D-029375BDB96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A5F6F31-48DF-4976-B60D-70E84125998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19EF6A-522C-4192-B1E4-F3DD0D83B5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0701" y="1831693"/>
            <a:ext cx="6337300" cy="4362732"/>
          </a:xfrm>
        </p:spPr>
        <p:txBody>
          <a:bodyPr/>
          <a:lstStyle>
            <a:lvl1pPr marL="285744" indent="-285744">
              <a:defRPr/>
            </a:lvl1pPr>
            <a:lvl2pPr marL="796905" indent="-339717">
              <a:buFont typeface="Calibri" panose="020F0502020204030204" pitchFamily="34" charset="0"/>
              <a:buChar char="–"/>
              <a:defRPr/>
            </a:lvl2pPr>
            <a:lvl3pPr marL="1142971" indent="-228594">
              <a:buFont typeface="Wingdings" panose="05000000000000000000" pitchFamily="2" charset="2"/>
              <a:buChar char="§"/>
              <a:defRPr/>
            </a:lvl3pPr>
            <a:lvl4pPr marL="1600160" indent="-228594">
              <a:buFont typeface="Calibri" panose="020F050202020403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379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1FBB54F7-DF56-46DF-AB20-3DD3F4ABD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6617"/>
            <a:ext cx="12192000" cy="40647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B0FF00F-646F-4BB4-896E-DC7F25273843}"/>
              </a:ext>
            </a:extLst>
          </p:cNvPr>
          <p:cNvSpPr/>
          <p:nvPr userDrawn="1"/>
        </p:nvSpPr>
        <p:spPr>
          <a:xfrm>
            <a:off x="0" y="1396616"/>
            <a:ext cx="12192000" cy="406476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337CAE-BB7F-42A9-92DE-2133FA58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2002632"/>
            <a:ext cx="11137900" cy="2852737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31268-3449-47EC-8584-83E899ED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2883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6F9F4D2F-0DB0-45EC-9C92-972C53BA08C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7576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E936245-F3C0-4A86-AADB-647161A4C1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81886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7" name="Picture Placeholder 24">
            <a:extLst>
              <a:ext uri="{FF2B5EF4-FFF2-40B4-BE49-F238E27FC236}">
                <a16:creationId xmlns:a16="http://schemas.microsoft.com/office/drawing/2014/main" id="{5648AE04-1998-4E1B-86AE-E25EDC82F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13080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BFF312B1-46AA-46C7-A5D7-7B71CD37B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444278" y="1701775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2ED87D5-800D-4CDE-B1E5-3B3CD05FD5E3}"/>
              </a:ext>
            </a:extLst>
          </p:cNvPr>
          <p:cNvGrpSpPr/>
          <p:nvPr/>
        </p:nvGrpSpPr>
        <p:grpSpPr>
          <a:xfrm>
            <a:off x="771216" y="1602200"/>
            <a:ext cx="2155981" cy="1630582"/>
            <a:chOff x="520700" y="1690687"/>
            <a:chExt cx="2657013" cy="1865377"/>
          </a:xfrm>
        </p:grpSpPr>
        <p:sp>
          <p:nvSpPr>
            <p:cNvPr id="8" name="Rectangle 15">
              <a:extLst>
                <a:ext uri="{FF2B5EF4-FFF2-40B4-BE49-F238E27FC236}">
                  <a16:creationId xmlns:a16="http://schemas.microsoft.com/office/drawing/2014/main" id="{E0A4B861-3CCD-479F-A769-C7581BF17FC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2E040F5E-E51C-48F0-89AF-FB0634336195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2293EE-99A5-480A-BE50-9C50E3795B75}"/>
              </a:ext>
            </a:extLst>
          </p:cNvPr>
          <p:cNvGrpSpPr/>
          <p:nvPr/>
        </p:nvGrpSpPr>
        <p:grpSpPr>
          <a:xfrm>
            <a:off x="3602412" y="1602200"/>
            <a:ext cx="2155981" cy="1630582"/>
            <a:chOff x="520700" y="1690687"/>
            <a:chExt cx="2657013" cy="1865377"/>
          </a:xfrm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42809CFB-A1DA-40ED-BEEF-ED6364AB7B2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14AE877E-70B3-46C5-A8B9-92556B7B102D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71D827-4F9A-4E2F-9FB5-20786D313B02}"/>
              </a:ext>
            </a:extLst>
          </p:cNvPr>
          <p:cNvGrpSpPr/>
          <p:nvPr/>
        </p:nvGrpSpPr>
        <p:grpSpPr>
          <a:xfrm>
            <a:off x="6433607" y="1602200"/>
            <a:ext cx="2155981" cy="1630582"/>
            <a:chOff x="520700" y="1690687"/>
            <a:chExt cx="2657013" cy="1865377"/>
          </a:xfrm>
        </p:grpSpPr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899B92F3-B50D-447E-A143-74B1F2309F7A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A1B448A3-F3AE-42B0-891E-DD57BD4F3737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246F6B0-C8C2-4835-A97C-50106DFE8AE5}"/>
              </a:ext>
            </a:extLst>
          </p:cNvPr>
          <p:cNvGrpSpPr/>
          <p:nvPr/>
        </p:nvGrpSpPr>
        <p:grpSpPr>
          <a:xfrm>
            <a:off x="9264804" y="1602200"/>
            <a:ext cx="2155981" cy="1630582"/>
            <a:chOff x="520700" y="1690687"/>
            <a:chExt cx="2657013" cy="1865377"/>
          </a:xfrm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5849724A-F06C-4F30-9A4B-C11A5A2A63B8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2F57ED01-7FB0-4F1A-8FD5-BA9000DB7011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61417F7-7F2D-41F7-B366-81B40E84E6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699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1BFAED8F-DA3D-4FA6-8BEE-76ACAFDFA0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1896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339FFE38-8122-4C03-86CF-A68A617233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3091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6" name="Text Placeholder 31">
            <a:extLst>
              <a:ext uri="{FF2B5EF4-FFF2-40B4-BE49-F238E27FC236}">
                <a16:creationId xmlns:a16="http://schemas.microsoft.com/office/drawing/2014/main" id="{DB25D3D9-0793-4B7A-809C-F3BCEB6C5F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4288" y="3316666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37" name="Picture Placeholder 24">
            <a:extLst>
              <a:ext uri="{FF2B5EF4-FFF2-40B4-BE49-F238E27FC236}">
                <a16:creationId xmlns:a16="http://schemas.microsoft.com/office/drawing/2014/main" id="{59D01AD3-CF5A-4E3A-BAA9-1C4E15A3362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44906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38" name="Picture Placeholder 24">
            <a:extLst>
              <a:ext uri="{FF2B5EF4-FFF2-40B4-BE49-F238E27FC236}">
                <a16:creationId xmlns:a16="http://schemas.microsoft.com/office/drawing/2014/main" id="{D2218851-AB69-4A3D-A5E6-8B5A1B6E2FC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79216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07ADD67E-2BCA-4467-9350-D5BD292F40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10411" y="4287659"/>
            <a:ext cx="1800149" cy="14356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endParaRPr lang="en-GB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9CC4A5D-E51B-4F0A-AF14-DF3F7D8ED6F5}"/>
              </a:ext>
            </a:extLst>
          </p:cNvPr>
          <p:cNvGrpSpPr/>
          <p:nvPr userDrawn="1"/>
        </p:nvGrpSpPr>
        <p:grpSpPr>
          <a:xfrm>
            <a:off x="2168547" y="4188084"/>
            <a:ext cx="2155981" cy="1630582"/>
            <a:chOff x="520700" y="1690687"/>
            <a:chExt cx="2657013" cy="1865377"/>
          </a:xfrm>
        </p:grpSpPr>
        <p:sp>
          <p:nvSpPr>
            <p:cNvPr id="41" name="Rectangle 15">
              <a:extLst>
                <a:ext uri="{FF2B5EF4-FFF2-40B4-BE49-F238E27FC236}">
                  <a16:creationId xmlns:a16="http://schemas.microsoft.com/office/drawing/2014/main" id="{8DBBE19E-9085-42FD-A20C-38055745A597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89910649-E926-4150-95CD-E41CBF06DB22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E9C124D-2629-4D7A-BDC8-07D79018580D}"/>
              </a:ext>
            </a:extLst>
          </p:cNvPr>
          <p:cNvGrpSpPr/>
          <p:nvPr userDrawn="1"/>
        </p:nvGrpSpPr>
        <p:grpSpPr>
          <a:xfrm>
            <a:off x="4999742" y="4188084"/>
            <a:ext cx="2155981" cy="1630582"/>
            <a:chOff x="520700" y="1690687"/>
            <a:chExt cx="2657013" cy="1865377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F427AD74-C579-47AA-80EC-31564E4C3046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D7996EEB-67F5-4DE6-B249-F28D83B3F360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6330D16-C3DF-4899-905F-ED22086E3351}"/>
              </a:ext>
            </a:extLst>
          </p:cNvPr>
          <p:cNvGrpSpPr/>
          <p:nvPr userDrawn="1"/>
        </p:nvGrpSpPr>
        <p:grpSpPr>
          <a:xfrm>
            <a:off x="7830936" y="4188084"/>
            <a:ext cx="2155981" cy="1630582"/>
            <a:chOff x="520700" y="1690687"/>
            <a:chExt cx="2657013" cy="1865377"/>
          </a:xfrm>
        </p:grpSpPr>
        <p:sp>
          <p:nvSpPr>
            <p:cNvPr id="47" name="Rectangle 15">
              <a:extLst>
                <a:ext uri="{FF2B5EF4-FFF2-40B4-BE49-F238E27FC236}">
                  <a16:creationId xmlns:a16="http://schemas.microsoft.com/office/drawing/2014/main" id="{B55D964B-14DE-4C1C-8035-83F0F2EF90B5}"/>
                </a:ext>
              </a:extLst>
            </p:cNvPr>
            <p:cNvSpPr/>
            <p:nvPr userDrawn="1"/>
          </p:nvSpPr>
          <p:spPr>
            <a:xfrm>
              <a:off x="520700" y="1690688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74820E22-A28F-4F02-94A3-58931C9B787E}"/>
                </a:ext>
              </a:extLst>
            </p:cNvPr>
            <p:cNvSpPr/>
            <p:nvPr userDrawn="1"/>
          </p:nvSpPr>
          <p:spPr>
            <a:xfrm flipH="1">
              <a:off x="3003993" y="1690687"/>
              <a:ext cx="173720" cy="1865376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F0A40111-168F-4497-886A-FB51AFA39F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18030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7A7B9E0D-2603-4032-A23C-36F8D1FC23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9226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1" name="Text Placeholder 31">
            <a:extLst>
              <a:ext uri="{FF2B5EF4-FFF2-40B4-BE49-F238E27FC236}">
                <a16:creationId xmlns:a16="http://schemas.microsoft.com/office/drawing/2014/main" id="{4C44BDD6-182F-46E4-93FC-43941C6FCC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80420" y="590255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52" name="Text Placeholder 31">
            <a:extLst>
              <a:ext uri="{FF2B5EF4-FFF2-40B4-BE49-F238E27FC236}">
                <a16:creationId xmlns:a16="http://schemas.microsoft.com/office/drawing/2014/main" id="{146B9903-E3C6-4472-8F80-F74BCF75A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699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8EF8F0D2-C983-41EC-98A0-2FC61FA6B3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51896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00DA53C4-87E6-4E15-8B37-7FD9DF2E8C1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091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5" name="Text Placeholder 31">
            <a:extLst>
              <a:ext uri="{FF2B5EF4-FFF2-40B4-BE49-F238E27FC236}">
                <a16:creationId xmlns:a16="http://schemas.microsoft.com/office/drawing/2014/main" id="{D99748A6-B121-4D68-BCD6-3164577AC3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14288" y="3632580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6" name="Text Placeholder 31">
            <a:extLst>
              <a:ext uri="{FF2B5EF4-FFF2-40B4-BE49-F238E27FC236}">
                <a16:creationId xmlns:a16="http://schemas.microsoft.com/office/drawing/2014/main" id="{B4EBA471-8F08-4F64-ACEE-D1DD5942606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18030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6403B303-FB7E-4805-8214-6B05AC1F77A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49226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sp>
        <p:nvSpPr>
          <p:cNvPr id="58" name="Text Placeholder 31">
            <a:extLst>
              <a:ext uri="{FF2B5EF4-FFF2-40B4-BE49-F238E27FC236}">
                <a16:creationId xmlns:a16="http://schemas.microsoft.com/office/drawing/2014/main" id="{49AAEA83-A2B2-4238-907F-0090DF30C2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0420" y="6218464"/>
            <a:ext cx="2657013" cy="347780"/>
          </a:xfrm>
        </p:spPr>
        <p:txBody>
          <a:bodyPr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Insert Designation her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83E98E6-2646-4A01-82E8-281A91F1A4C3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6172C09-3F85-45A0-989F-846F05F5756D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5299EAE-B503-41BB-AEFE-1B65262CD1AB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28E97010-C635-4BA9-9069-E49D0C60FA17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2918786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as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D0F9F7-837D-4C35-98CF-84610A15E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57DBDF0-A445-45E3-95B2-8AA935F1896C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B11D792-F5E3-46C2-89EA-72EF88806641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AB57721-DF40-4846-AA09-641C822863A8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3F3A4D0-C164-4837-999E-84A1F41D429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68B2F34-A5B3-4752-9107-D0000DCD20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700" y="1819277"/>
            <a:ext cx="11150600" cy="581025"/>
          </a:xfrm>
        </p:spPr>
        <p:txBody>
          <a:bodyPr>
            <a:normAutofit/>
          </a:bodyPr>
          <a:lstStyle>
            <a:lvl1pPr marL="0" indent="0">
              <a:buNone/>
              <a:defRPr sz="2000" i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2D865E9E-D5A1-4E50-8765-1C11BF544CBB}"/>
              </a:ext>
            </a:extLst>
          </p:cNvPr>
          <p:cNvSpPr/>
          <p:nvPr userDrawn="1"/>
        </p:nvSpPr>
        <p:spPr>
          <a:xfrm>
            <a:off x="520699" y="2710183"/>
            <a:ext cx="384808" cy="348424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B2788E9-0C08-457A-A04F-3C2E98810440}"/>
              </a:ext>
            </a:extLst>
          </p:cNvPr>
          <p:cNvCxnSpPr>
            <a:cxnSpLocks/>
          </p:cNvCxnSpPr>
          <p:nvPr userDrawn="1"/>
        </p:nvCxnSpPr>
        <p:spPr>
          <a:xfrm>
            <a:off x="836387" y="6194425"/>
            <a:ext cx="4688416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9" name="Rectangle 15">
            <a:extLst>
              <a:ext uri="{FF2B5EF4-FFF2-40B4-BE49-F238E27FC236}">
                <a16:creationId xmlns:a16="http://schemas.microsoft.com/office/drawing/2014/main" id="{40CDCC2A-83F3-4872-A1A5-AC8A56C0D387}"/>
              </a:ext>
            </a:extLst>
          </p:cNvPr>
          <p:cNvSpPr/>
          <p:nvPr userDrawn="1"/>
        </p:nvSpPr>
        <p:spPr>
          <a:xfrm>
            <a:off x="6662612" y="2710183"/>
            <a:ext cx="384808" cy="348424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FA1C4B7-3F42-483F-BC7A-4C7B0122308F}"/>
              </a:ext>
            </a:extLst>
          </p:cNvPr>
          <p:cNvCxnSpPr>
            <a:cxnSpLocks/>
          </p:cNvCxnSpPr>
          <p:nvPr userDrawn="1"/>
        </p:nvCxnSpPr>
        <p:spPr>
          <a:xfrm>
            <a:off x="6978299" y="6194425"/>
            <a:ext cx="4688416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AC9100CE-066B-4C75-9E1A-20275EE6D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0700" y="3162541"/>
            <a:ext cx="5003800" cy="3031884"/>
          </a:xfrm>
        </p:spPr>
        <p:txBody>
          <a:bodyPr lIns="91440" tIns="91440" rIns="91440">
            <a:normAutofit/>
          </a:bodyPr>
          <a:lstStyle>
            <a:lvl1pPr>
              <a:defRPr sz="1800"/>
            </a:lvl1pPr>
            <a:lvl2pPr marL="685783" indent="-228594">
              <a:buFont typeface="Engravers MT" panose="02090707080505020304" pitchFamily="18" charset="0"/>
              <a:buChar char="–"/>
              <a:defRPr sz="1600"/>
            </a:lvl2pPr>
            <a:lvl3pPr marL="1142971" indent="-228594">
              <a:buFont typeface="Wingdings" panose="05000000000000000000" pitchFamily="2" charset="2"/>
              <a:buChar char="§"/>
              <a:defRPr sz="1400"/>
            </a:lvl3pPr>
            <a:lvl4pPr marL="1600160" indent="-228594">
              <a:buFont typeface="Engravers MT" panose="02090707080505020304" pitchFamily="18" charset="0"/>
              <a:buChar char="–"/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5" name="Text Placeholder 63">
            <a:extLst>
              <a:ext uri="{FF2B5EF4-FFF2-40B4-BE49-F238E27FC236}">
                <a16:creationId xmlns:a16="http://schemas.microsoft.com/office/drawing/2014/main" id="{7E2E2321-FEB1-4EDE-8CEE-B011CBE915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2612" y="3162541"/>
            <a:ext cx="5003800" cy="3031884"/>
          </a:xfrm>
        </p:spPr>
        <p:txBody>
          <a:bodyPr lIns="91440" tIns="91440" rIns="91440">
            <a:normAutofit/>
          </a:bodyPr>
          <a:lstStyle>
            <a:lvl1pPr>
              <a:defRPr sz="1800"/>
            </a:lvl1pPr>
            <a:lvl2pPr marL="685783" indent="-228594">
              <a:buFont typeface="Engravers MT" panose="02090707080505020304" pitchFamily="18" charset="0"/>
              <a:buChar char="–"/>
              <a:defRPr sz="1600"/>
            </a:lvl2pPr>
            <a:lvl3pPr marL="1142971" indent="-228594">
              <a:buFont typeface="Wingdings" panose="05000000000000000000" pitchFamily="2" charset="2"/>
              <a:buChar char="§"/>
              <a:defRPr sz="1400"/>
            </a:lvl3pPr>
            <a:lvl4pPr marL="1600160" indent="-228594">
              <a:buFont typeface="Engravers MT" panose="02090707080505020304" pitchFamily="18" charset="0"/>
              <a:buChar char="–"/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36B3FE-FAD2-479F-A97B-299D061D85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0699" y="2796781"/>
            <a:ext cx="5001767" cy="365760"/>
          </a:xfrm>
          <a:solidFill>
            <a:schemeClr val="tx2"/>
          </a:solidFill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Heading Here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CCA8FCB-3318-40DD-A974-20D29D54EF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4646" y="2796781"/>
            <a:ext cx="5001767" cy="365760"/>
          </a:xfrm>
          <a:solidFill>
            <a:schemeClr val="tx2"/>
          </a:solidFill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Heading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9282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ext Placeholder 25">
            <a:extLst>
              <a:ext uri="{FF2B5EF4-FFF2-40B4-BE49-F238E27FC236}">
                <a16:creationId xmlns:a16="http://schemas.microsoft.com/office/drawing/2014/main" id="{8E877D32-1C8D-4ED9-9853-17CE9964CE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0802" y="1932013"/>
            <a:ext cx="521868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A96D735-7D86-4D11-9300-BADFF1111D9B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4BE2553-5B47-43D0-8C34-FA22B9AAA9F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436509B-9F6D-4856-BA86-5B3E12ABEA3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B2593B5-913C-46CF-98CB-2ECA90F70B5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A44ED3E-1620-40F9-B1FD-8D35BC8FF9F3}"/>
              </a:ext>
            </a:extLst>
          </p:cNvPr>
          <p:cNvGrpSpPr/>
          <p:nvPr userDrawn="1"/>
        </p:nvGrpSpPr>
        <p:grpSpPr>
          <a:xfrm>
            <a:off x="520701" y="1852615"/>
            <a:ext cx="5358891" cy="796401"/>
            <a:chOff x="520700" y="2028080"/>
            <a:chExt cx="5358891" cy="620934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988F8592-B6BC-4ACA-B9D6-C3ACA11BE448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5" name="Rectangle 15">
              <a:extLst>
                <a:ext uri="{FF2B5EF4-FFF2-40B4-BE49-F238E27FC236}">
                  <a16:creationId xmlns:a16="http://schemas.microsoft.com/office/drawing/2014/main" id="{AFB07A28-B1EE-4131-82CB-9A693F4A7A73}"/>
                </a:ext>
              </a:extLst>
            </p:cNvPr>
            <p:cNvSpPr/>
            <p:nvPr userDrawn="1"/>
          </p:nvSpPr>
          <p:spPr>
            <a:xfrm flipH="1">
              <a:off x="5769101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E155A1-548F-4705-AFD6-554DEC324A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0" y="2727962"/>
            <a:ext cx="5359400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3A6ACE54-1E10-4C07-AD13-F01EF15BE5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2156" y="2727962"/>
            <a:ext cx="5359400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1pPr>
            <a:lvl2pPr marL="685783" indent="-228594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Second level</a:t>
            </a:r>
          </a:p>
          <a:p>
            <a:pPr marL="1142971" lvl="2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1600160" lvl="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Fourth level</a:t>
            </a:r>
          </a:p>
          <a:p>
            <a:pPr marL="2057349" lvl="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0DC07DBC-9C67-4B8E-93BA-49DC6027A1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2511" y="1932013"/>
            <a:ext cx="521868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F92DB0C-9F77-4238-B7D3-16E53DE91EF6}"/>
              </a:ext>
            </a:extLst>
          </p:cNvPr>
          <p:cNvGrpSpPr/>
          <p:nvPr userDrawn="1"/>
        </p:nvGrpSpPr>
        <p:grpSpPr>
          <a:xfrm>
            <a:off x="6312409" y="1852615"/>
            <a:ext cx="5358891" cy="796401"/>
            <a:chOff x="6312409" y="2028080"/>
            <a:chExt cx="5358891" cy="620934"/>
          </a:xfrm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A202863A-F0F4-4F9F-ABC5-01F0A85EC7CE}"/>
                </a:ext>
              </a:extLst>
            </p:cNvPr>
            <p:cNvSpPr/>
            <p:nvPr userDrawn="1"/>
          </p:nvSpPr>
          <p:spPr>
            <a:xfrm>
              <a:off x="6312409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31E9A594-FDA0-4799-AA52-E6566D671DA7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E936870-D418-4E1D-825D-ED7BCE686EB1}"/>
              </a:ext>
            </a:extLst>
          </p:cNvPr>
          <p:cNvCxnSpPr/>
          <p:nvPr userDrawn="1"/>
        </p:nvCxnSpPr>
        <p:spPr>
          <a:xfrm>
            <a:off x="6096001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1985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F5947-3179-41F0-809E-257EE4E18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7"/>
            <a:ext cx="11150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A96D735-7D86-4D11-9300-BADFF1111D9B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4BE2553-5B47-43D0-8C34-FA22B9AAA9F6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436509B-9F6D-4856-BA86-5B3E12ABEA3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B2593B5-913C-46CF-98CB-2ECA90F70B5E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F058CEC-AFF0-443C-B251-E893B13CD9D9}"/>
              </a:ext>
            </a:extLst>
          </p:cNvPr>
          <p:cNvGrpSpPr/>
          <p:nvPr userDrawn="1"/>
        </p:nvGrpSpPr>
        <p:grpSpPr>
          <a:xfrm>
            <a:off x="520702" y="1852615"/>
            <a:ext cx="2505095" cy="796401"/>
            <a:chOff x="520700" y="2028080"/>
            <a:chExt cx="2505095" cy="620934"/>
          </a:xfrm>
        </p:grpSpPr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BD0C3CC0-C463-4A23-8DA2-03FC7700E163}"/>
                </a:ext>
              </a:extLst>
            </p:cNvPr>
            <p:cNvSpPr/>
            <p:nvPr/>
          </p:nvSpPr>
          <p:spPr>
            <a:xfrm>
              <a:off x="52070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92628147-F44A-4067-B9DC-DA1F7840121F}"/>
                </a:ext>
              </a:extLst>
            </p:cNvPr>
            <p:cNvSpPr/>
            <p:nvPr userDrawn="1"/>
          </p:nvSpPr>
          <p:spPr>
            <a:xfrm flipH="1">
              <a:off x="29153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E461AF6-0198-4CEE-A53C-3075A307522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02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B46E48E8-214F-4501-8F4E-061E87E725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0935" y="1932013"/>
            <a:ext cx="2368296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8681A48D-58A1-437D-AD36-772F1BBF58D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02537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44C6468E-A8F1-4654-9A45-680B4704FD5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84371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D3A7CC4-909A-42D4-99B4-405DD6A690CE}"/>
              </a:ext>
            </a:extLst>
          </p:cNvPr>
          <p:cNvGrpSpPr/>
          <p:nvPr userDrawn="1"/>
        </p:nvGrpSpPr>
        <p:grpSpPr>
          <a:xfrm>
            <a:off x="3402537" y="1852615"/>
            <a:ext cx="2505095" cy="796401"/>
            <a:chOff x="3402535" y="2028080"/>
            <a:chExt cx="2505095" cy="620934"/>
          </a:xfrm>
        </p:grpSpPr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FE3C12D5-6A0C-4A90-AEF4-8BBEE133C7B8}"/>
                </a:ext>
              </a:extLst>
            </p:cNvPr>
            <p:cNvSpPr/>
            <p:nvPr userDrawn="1"/>
          </p:nvSpPr>
          <p:spPr>
            <a:xfrm>
              <a:off x="340253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46" name="Rectangle 15">
              <a:extLst>
                <a:ext uri="{FF2B5EF4-FFF2-40B4-BE49-F238E27FC236}">
                  <a16:creationId xmlns:a16="http://schemas.microsoft.com/office/drawing/2014/main" id="{FB411CCB-5677-49FE-868C-63060487EFF9}"/>
                </a:ext>
              </a:extLst>
            </p:cNvPr>
            <p:cNvSpPr/>
            <p:nvPr userDrawn="1"/>
          </p:nvSpPr>
          <p:spPr>
            <a:xfrm flipH="1">
              <a:off x="579714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31D5CD67-C094-49C6-B68F-904E99637AE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55080" y="1932013"/>
            <a:ext cx="2362200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accent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F2F7AC8-FC39-4114-A75A-F5B309FADA56}"/>
              </a:ext>
            </a:extLst>
          </p:cNvPr>
          <p:cNvCxnSpPr>
            <a:cxnSpLocks/>
          </p:cNvCxnSpPr>
          <p:nvPr userDrawn="1"/>
        </p:nvCxnSpPr>
        <p:spPr>
          <a:xfrm>
            <a:off x="3214165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D7B0637-8114-4053-B9A6-FCF82118412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35D960B-E5B6-449B-9EFB-F07C1BE3CE1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66206" y="2727962"/>
            <a:ext cx="2505095" cy="3466465"/>
          </a:xfrm>
        </p:spPr>
        <p:txBody>
          <a:bodyPr>
            <a:norm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5BD2113-B292-4541-BC74-19755F71C3C2}"/>
              </a:ext>
            </a:extLst>
          </p:cNvPr>
          <p:cNvGrpSpPr/>
          <p:nvPr userDrawn="1"/>
        </p:nvGrpSpPr>
        <p:grpSpPr>
          <a:xfrm>
            <a:off x="6284371" y="1852615"/>
            <a:ext cx="2505095" cy="796401"/>
            <a:chOff x="6284370" y="2028080"/>
            <a:chExt cx="2505095" cy="620934"/>
          </a:xfrm>
        </p:grpSpPr>
        <p:sp>
          <p:nvSpPr>
            <p:cNvPr id="53" name="Rectangle 15">
              <a:extLst>
                <a:ext uri="{FF2B5EF4-FFF2-40B4-BE49-F238E27FC236}">
                  <a16:creationId xmlns:a16="http://schemas.microsoft.com/office/drawing/2014/main" id="{F87936B0-B7E0-4097-B4A1-C064390EC348}"/>
                </a:ext>
              </a:extLst>
            </p:cNvPr>
            <p:cNvSpPr/>
            <p:nvPr userDrawn="1"/>
          </p:nvSpPr>
          <p:spPr>
            <a:xfrm>
              <a:off x="628437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4" name="Rectangle 15">
              <a:extLst>
                <a:ext uri="{FF2B5EF4-FFF2-40B4-BE49-F238E27FC236}">
                  <a16:creationId xmlns:a16="http://schemas.microsoft.com/office/drawing/2014/main" id="{9C358D58-0B3F-4D77-BE83-523745FEF4E6}"/>
                </a:ext>
              </a:extLst>
            </p:cNvPr>
            <p:cNvSpPr/>
            <p:nvPr userDrawn="1"/>
          </p:nvSpPr>
          <p:spPr>
            <a:xfrm flipH="1">
              <a:off x="867897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37BA7F1-12BA-43DF-ADA8-88E8559C8AAA}"/>
              </a:ext>
            </a:extLst>
          </p:cNvPr>
          <p:cNvGrpSpPr/>
          <p:nvPr userDrawn="1"/>
        </p:nvGrpSpPr>
        <p:grpSpPr>
          <a:xfrm>
            <a:off x="9166206" y="1852615"/>
            <a:ext cx="2505095" cy="796401"/>
            <a:chOff x="9166205" y="2028080"/>
            <a:chExt cx="2505095" cy="620934"/>
          </a:xfrm>
        </p:grpSpPr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82EA8142-B1E2-439E-9328-D93B360F480B}"/>
                </a:ext>
              </a:extLst>
            </p:cNvPr>
            <p:cNvSpPr/>
            <p:nvPr userDrawn="1"/>
          </p:nvSpPr>
          <p:spPr>
            <a:xfrm flipH="1">
              <a:off x="11560810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  <p:sp>
          <p:nvSpPr>
            <p:cNvPr id="55" name="Rectangle 15">
              <a:extLst>
                <a:ext uri="{FF2B5EF4-FFF2-40B4-BE49-F238E27FC236}">
                  <a16:creationId xmlns:a16="http://schemas.microsoft.com/office/drawing/2014/main" id="{F5874F68-F3AA-41A2-9B56-67ED5186C3B8}"/>
                </a:ext>
              </a:extLst>
            </p:cNvPr>
            <p:cNvSpPr/>
            <p:nvPr userDrawn="1"/>
          </p:nvSpPr>
          <p:spPr>
            <a:xfrm>
              <a:off x="9166205" y="2028080"/>
              <a:ext cx="110490" cy="620934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/>
            </a:p>
          </p:txBody>
        </p:sp>
      </p:grp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199D7BF7-161D-49DC-B9B2-4CBC0FC1EC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35440" y="1932013"/>
            <a:ext cx="2365757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B82116B-6733-4FBB-8DB8-D7E8C6027F54}"/>
              </a:ext>
            </a:extLst>
          </p:cNvPr>
          <p:cNvCxnSpPr>
            <a:cxnSpLocks/>
          </p:cNvCxnSpPr>
          <p:nvPr userDrawn="1"/>
        </p:nvCxnSpPr>
        <p:spPr>
          <a:xfrm>
            <a:off x="8977835" y="2727962"/>
            <a:ext cx="0" cy="3466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5">
            <a:extLst>
              <a:ext uri="{FF2B5EF4-FFF2-40B4-BE49-F238E27FC236}">
                <a16:creationId xmlns:a16="http://schemas.microsoft.com/office/drawing/2014/main" id="{44C922BA-DB39-4EF8-864F-6D5584EC9A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0803" y="1932013"/>
            <a:ext cx="2367864" cy="66627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45720" rIns="1371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spcBef>
                <a:spcPts val="200"/>
              </a:spcBef>
              <a:buNone/>
              <a:defRPr lang="en-US" sz="2000" b="1" dirty="0" smtClean="0">
                <a:solidFill>
                  <a:schemeClr val="tx2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2955168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3983315-0554-49E6-9E3D-9C6C39129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3983315-0554-49E6-9E3D-9C6C39129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5704900D-C556-4FC7-9A86-750D6D2A75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860C1182-B65F-4B3C-ACD1-BA7442AF21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13" b="6803"/>
          <a:stretch/>
        </p:blipFill>
        <p:spPr>
          <a:xfrm>
            <a:off x="1" y="2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A411A5F-DED5-4A76-84EB-B19B1CEFB4BB}"/>
              </a:ext>
            </a:extLst>
          </p:cNvPr>
          <p:cNvSpPr/>
          <p:nvPr userDrawn="1"/>
        </p:nvSpPr>
        <p:spPr>
          <a:xfrm flipH="1">
            <a:off x="0" y="0"/>
            <a:ext cx="678180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10DC646-B7F1-462B-A35C-22CC616E7BC3}"/>
              </a:ext>
            </a:extLst>
          </p:cNvPr>
          <p:cNvSpPr/>
          <p:nvPr userDrawn="1"/>
        </p:nvSpPr>
        <p:spPr>
          <a:xfrm>
            <a:off x="1" y="0"/>
            <a:ext cx="6150235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985ECFF-9CC9-4ED0-BA13-3E57643AE7A3}"/>
              </a:ext>
            </a:extLst>
          </p:cNvPr>
          <p:cNvGrpSpPr/>
          <p:nvPr userDrawn="1"/>
        </p:nvGrpSpPr>
        <p:grpSpPr>
          <a:xfrm>
            <a:off x="517738" y="354014"/>
            <a:ext cx="5357535" cy="1465262"/>
            <a:chOff x="6237511" y="354014"/>
            <a:chExt cx="5429770" cy="1465262"/>
          </a:xfrm>
        </p:grpSpPr>
        <p:sp>
          <p:nvSpPr>
            <p:cNvPr id="10" name="Rectangle 15">
              <a:extLst>
                <a:ext uri="{FF2B5EF4-FFF2-40B4-BE49-F238E27FC236}">
                  <a16:creationId xmlns:a16="http://schemas.microsoft.com/office/drawing/2014/main" id="{7973D31B-AC49-47BA-A85E-0B9CD15DCE26}"/>
                </a:ext>
              </a:extLst>
            </p:cNvPr>
            <p:cNvSpPr/>
            <p:nvPr/>
          </p:nvSpPr>
          <p:spPr>
            <a:xfrm>
              <a:off x="6237511" y="354014"/>
              <a:ext cx="218109" cy="1465262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914400 w 1005840"/>
                <a:gd name="connsiteY0" fmla="*/ 914400 h 1005840"/>
                <a:gd name="connsiteX1" fmla="*/ 0 w 1005840"/>
                <a:gd name="connsiteY1" fmla="*/ 914400 h 1005840"/>
                <a:gd name="connsiteX2" fmla="*/ 0 w 1005840"/>
                <a:gd name="connsiteY2" fmla="*/ 0 h 1005840"/>
                <a:gd name="connsiteX3" fmla="*/ 914400 w 1005840"/>
                <a:gd name="connsiteY3" fmla="*/ 0 h 1005840"/>
                <a:gd name="connsiteX4" fmla="*/ 1005840 w 1005840"/>
                <a:gd name="connsiteY4" fmla="*/ 1005840 h 1005840"/>
                <a:gd name="connsiteX0" fmla="*/ 914400 w 998220"/>
                <a:gd name="connsiteY0" fmla="*/ 914400 h 1017270"/>
                <a:gd name="connsiteX1" fmla="*/ 0 w 998220"/>
                <a:gd name="connsiteY1" fmla="*/ 914400 h 1017270"/>
                <a:gd name="connsiteX2" fmla="*/ 0 w 998220"/>
                <a:gd name="connsiteY2" fmla="*/ 0 h 1017270"/>
                <a:gd name="connsiteX3" fmla="*/ 914400 w 998220"/>
                <a:gd name="connsiteY3" fmla="*/ 0 h 1017270"/>
                <a:gd name="connsiteX4" fmla="*/ 998220 w 998220"/>
                <a:gd name="connsiteY4" fmla="*/ 1017270 h 1017270"/>
                <a:gd name="connsiteX0" fmla="*/ 914400 w 914400"/>
                <a:gd name="connsiteY0" fmla="*/ 914400 h 914400"/>
                <a:gd name="connsiteX1" fmla="*/ 0 w 914400"/>
                <a:gd name="connsiteY1" fmla="*/ 914400 h 914400"/>
                <a:gd name="connsiteX2" fmla="*/ 0 w 914400"/>
                <a:gd name="connsiteY2" fmla="*/ 0 h 914400"/>
                <a:gd name="connsiteX3" fmla="*/ 914400 w 914400"/>
                <a:gd name="connsiteY3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400" h="914400">
                  <a:moveTo>
                    <a:pt x="914400" y="914400"/>
                  </a:moveTo>
                  <a:lnTo>
                    <a:pt x="0" y="914400"/>
                  </a:lnTo>
                  <a:lnTo>
                    <a:pt x="0" y="0"/>
                  </a:lnTo>
                  <a:lnTo>
                    <a:pt x="914400" y="0"/>
                  </a:lnTo>
                </a:path>
              </a:pathLst>
            </a:cu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GB" sz="1800">
                <a:solidFill>
                  <a:schemeClr val="bg1"/>
                </a:solidFill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F07AFA1-2DAA-46B4-8121-B97EE95E9E9D}"/>
                </a:ext>
              </a:extLst>
            </p:cNvPr>
            <p:cNvCxnSpPr>
              <a:cxnSpLocks/>
              <a:stCxn id="10" idx="0"/>
            </p:cNvCxnSpPr>
            <p:nvPr/>
          </p:nvCxnSpPr>
          <p:spPr>
            <a:xfrm>
              <a:off x="6455620" y="1819276"/>
              <a:ext cx="5211661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F0FA0DD-8A8F-4BC7-AE30-9F3839C4B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946" y="436175"/>
            <a:ext cx="5193293" cy="127320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endParaRPr lang="en-US" sz="44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904AD61-230F-464E-ADAF-626FD2E35B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7526" y="1901825"/>
            <a:ext cx="5357813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6188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2 row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AB29D59-B924-4400-9D57-3FD4CFC30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AB29D59-B924-4400-9D57-3FD4CFC30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8DAB3F09-434C-413D-9D4B-B2EF9F3DBA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8637" y="653439"/>
            <a:ext cx="5198312" cy="54257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  <a:endParaRPr lang="en-US"/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25CD491B-8A58-4B7C-8BEE-42F0F17570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8637" y="3332796"/>
            <a:ext cx="5198312" cy="54257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D96E96C-CFAC-4A3C-BA1E-83562777442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7765" y="1310642"/>
            <a:ext cx="6463535" cy="1933813"/>
          </a:xfrm>
        </p:spPr>
        <p:txBody>
          <a:bodyPr>
            <a:normAutofit/>
          </a:bodyPr>
          <a:lstStyle>
            <a:lvl1pPr marL="231769" indent="-231769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34C80F9-EEA4-4343-9C03-412CF26BB5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07765" y="3994293"/>
            <a:ext cx="6463535" cy="1933813"/>
          </a:xfrm>
        </p:spPr>
        <p:txBody>
          <a:bodyPr>
            <a:normAutofit/>
          </a:bodyPr>
          <a:lstStyle>
            <a:lvl1pPr marL="231769" indent="-231769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7C5F1C-5D8D-47D1-AAA0-2BABFF1BA1AF}"/>
              </a:ext>
            </a:extLst>
          </p:cNvPr>
          <p:cNvSpPr/>
          <p:nvPr userDrawn="1"/>
        </p:nvSpPr>
        <p:spPr>
          <a:xfrm>
            <a:off x="0" y="0"/>
            <a:ext cx="50086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58D94736-9D91-4D49-998F-61184343E2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13" t="16644" r="18315" b="44507"/>
          <a:stretch/>
        </p:blipFill>
        <p:spPr>
          <a:xfrm>
            <a:off x="1813560" y="1819278"/>
            <a:ext cx="1336040" cy="3042285"/>
          </a:xfrm>
          <a:custGeom>
            <a:avLst/>
            <a:gdLst>
              <a:gd name="connsiteX0" fmla="*/ 0 w 1336040"/>
              <a:gd name="connsiteY0" fmla="*/ 0 h 3042285"/>
              <a:gd name="connsiteX1" fmla="*/ 1336040 w 1336040"/>
              <a:gd name="connsiteY1" fmla="*/ 0 h 3042285"/>
              <a:gd name="connsiteX2" fmla="*/ 1336040 w 1336040"/>
              <a:gd name="connsiteY2" fmla="*/ 3042285 h 3042285"/>
              <a:gd name="connsiteX3" fmla="*/ 0 w 1336040"/>
              <a:gd name="connsiteY3" fmla="*/ 3042285 h 3042285"/>
              <a:gd name="connsiteX4" fmla="*/ 0 w 1336040"/>
              <a:gd name="connsiteY4" fmla="*/ 0 h 3042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6040" h="3042285">
                <a:moveTo>
                  <a:pt x="0" y="0"/>
                </a:moveTo>
                <a:lnTo>
                  <a:pt x="1336040" y="0"/>
                </a:lnTo>
                <a:lnTo>
                  <a:pt x="1336040" y="3042285"/>
                </a:lnTo>
                <a:lnTo>
                  <a:pt x="0" y="304228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10" name="Picture 9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02707E75-58FC-4714-ADA0-101CDB7C28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00" t="45530" r="27728" b="15339"/>
          <a:stretch/>
        </p:blipFill>
        <p:spPr>
          <a:xfrm>
            <a:off x="372403" y="2859414"/>
            <a:ext cx="1336040" cy="3064397"/>
          </a:xfrm>
          <a:custGeom>
            <a:avLst/>
            <a:gdLst>
              <a:gd name="connsiteX0" fmla="*/ 0 w 1336040"/>
              <a:gd name="connsiteY0" fmla="*/ 0 h 3064397"/>
              <a:gd name="connsiteX1" fmla="*/ 1336040 w 1336040"/>
              <a:gd name="connsiteY1" fmla="*/ 0 h 3064397"/>
              <a:gd name="connsiteX2" fmla="*/ 1336040 w 1336040"/>
              <a:gd name="connsiteY2" fmla="*/ 3064397 h 3064397"/>
              <a:gd name="connsiteX3" fmla="*/ 0 w 1336040"/>
              <a:gd name="connsiteY3" fmla="*/ 3064397 h 3064397"/>
              <a:gd name="connsiteX4" fmla="*/ 0 w 1336040"/>
              <a:gd name="connsiteY4" fmla="*/ 0 h 3064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6040" h="3064397">
                <a:moveTo>
                  <a:pt x="0" y="0"/>
                </a:moveTo>
                <a:lnTo>
                  <a:pt x="1336040" y="0"/>
                </a:lnTo>
                <a:lnTo>
                  <a:pt x="1336040" y="3064397"/>
                </a:lnTo>
                <a:lnTo>
                  <a:pt x="0" y="3064397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11" name="Picture 10" descr="A group of people around each other&#10;&#10;Description automatically generated">
            <a:extLst>
              <a:ext uri="{FF2B5EF4-FFF2-40B4-BE49-F238E27FC236}">
                <a16:creationId xmlns:a16="http://schemas.microsoft.com/office/drawing/2014/main" id="{C1A5F51B-F639-436C-9972-A845415A70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067" t="43787" r="6561" b="17082"/>
          <a:stretch/>
        </p:blipFill>
        <p:spPr>
          <a:xfrm>
            <a:off x="3304700" y="3429002"/>
            <a:ext cx="1336040" cy="3064397"/>
          </a:xfrm>
          <a:custGeom>
            <a:avLst/>
            <a:gdLst>
              <a:gd name="connsiteX0" fmla="*/ 0 w 1336040"/>
              <a:gd name="connsiteY0" fmla="*/ 0 h 3064397"/>
              <a:gd name="connsiteX1" fmla="*/ 1336040 w 1336040"/>
              <a:gd name="connsiteY1" fmla="*/ 0 h 3064397"/>
              <a:gd name="connsiteX2" fmla="*/ 1336040 w 1336040"/>
              <a:gd name="connsiteY2" fmla="*/ 3064397 h 3064397"/>
              <a:gd name="connsiteX3" fmla="*/ 0 w 1336040"/>
              <a:gd name="connsiteY3" fmla="*/ 3064397 h 3064397"/>
              <a:gd name="connsiteX4" fmla="*/ 0 w 1336040"/>
              <a:gd name="connsiteY4" fmla="*/ 0 h 3064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6040" h="3064397">
                <a:moveTo>
                  <a:pt x="0" y="0"/>
                </a:moveTo>
                <a:lnTo>
                  <a:pt x="1336040" y="0"/>
                </a:lnTo>
                <a:lnTo>
                  <a:pt x="1336040" y="3064397"/>
                </a:lnTo>
                <a:lnTo>
                  <a:pt x="0" y="3064397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8BB7155-87AD-4CB8-9B4E-961F885B4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404" y="436175"/>
            <a:ext cx="4473917" cy="127320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endParaRPr lang="en-US" sz="44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204942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xt Steps (2 steps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6F9DE4B-E0A5-4A88-B4BB-186887FBD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6F9DE4B-E0A5-4A88-B4BB-186887FBD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F30FD5BB-76A2-4ED6-905A-7113A01B8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32" name="Picture 31" descr="A group of people sitting at a table with a computer&#10;&#10;Description automatically generated">
            <a:extLst>
              <a:ext uri="{FF2B5EF4-FFF2-40B4-BE49-F238E27FC236}">
                <a16:creationId xmlns:a16="http://schemas.microsoft.com/office/drawing/2014/main" id="{74CC273F-BF3B-4F87-AE25-118CB2E816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2192000" cy="3176325"/>
          </a:xfrm>
          <a:custGeom>
            <a:avLst/>
            <a:gdLst>
              <a:gd name="connsiteX0" fmla="*/ 0 w 12192000"/>
              <a:gd name="connsiteY0" fmla="*/ 0 h 3312850"/>
              <a:gd name="connsiteX1" fmla="*/ 12192000 w 12192000"/>
              <a:gd name="connsiteY1" fmla="*/ 0 h 3312850"/>
              <a:gd name="connsiteX2" fmla="*/ 12192000 w 12192000"/>
              <a:gd name="connsiteY2" fmla="*/ 3312850 h 3312850"/>
              <a:gd name="connsiteX3" fmla="*/ 0 w 12192000"/>
              <a:gd name="connsiteY3" fmla="*/ 3312850 h 331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312850">
                <a:moveTo>
                  <a:pt x="0" y="0"/>
                </a:moveTo>
                <a:lnTo>
                  <a:pt x="12192000" y="0"/>
                </a:lnTo>
                <a:lnTo>
                  <a:pt x="12192000" y="3312850"/>
                </a:lnTo>
                <a:lnTo>
                  <a:pt x="0" y="3312850"/>
                </a:lnTo>
                <a:close/>
              </a:path>
            </a:pathLst>
          </a:cu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ED72D30-5830-4FFE-8AA1-0FA5F9988A91}"/>
              </a:ext>
            </a:extLst>
          </p:cNvPr>
          <p:cNvSpPr/>
          <p:nvPr userDrawn="1"/>
        </p:nvSpPr>
        <p:spPr>
          <a:xfrm>
            <a:off x="-277" y="0"/>
            <a:ext cx="12192277" cy="317817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C0F1-C348-4E2B-B63E-F9FE4A4B7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3352CB7-DE56-4EC6-A0ED-184105DFB3EB}"/>
              </a:ext>
            </a:extLst>
          </p:cNvPr>
          <p:cNvGrpSpPr/>
          <p:nvPr/>
        </p:nvGrpSpPr>
        <p:grpSpPr>
          <a:xfrm>
            <a:off x="520701" y="1174249"/>
            <a:ext cx="1567180" cy="63148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AB90360-438B-4D83-86D9-3F4A4E7E293B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1F44C3-78D9-4E71-B590-7906C22049C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1F01DE-99A0-4127-B3AE-F674CD3F8BC8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4" name="Rectangle 15">
            <a:extLst>
              <a:ext uri="{FF2B5EF4-FFF2-40B4-BE49-F238E27FC236}">
                <a16:creationId xmlns:a16="http://schemas.microsoft.com/office/drawing/2014/main" id="{69C2AC58-766A-4775-94A1-72FA10741A6F}"/>
              </a:ext>
            </a:extLst>
          </p:cNvPr>
          <p:cNvSpPr/>
          <p:nvPr/>
        </p:nvSpPr>
        <p:spPr>
          <a:xfrm>
            <a:off x="520700" y="3321694"/>
            <a:ext cx="218109" cy="2872733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D2653FC-3616-473D-8CDE-E277AC3C4158}"/>
              </a:ext>
            </a:extLst>
          </p:cNvPr>
          <p:cNvCxnSpPr>
            <a:cxnSpLocks/>
            <a:stCxn id="14" idx="0"/>
          </p:cNvCxnSpPr>
          <p:nvPr/>
        </p:nvCxnSpPr>
        <p:spPr>
          <a:xfrm>
            <a:off x="738808" y="6194425"/>
            <a:ext cx="5033343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Rectangle 15">
            <a:extLst>
              <a:ext uri="{FF2B5EF4-FFF2-40B4-BE49-F238E27FC236}">
                <a16:creationId xmlns:a16="http://schemas.microsoft.com/office/drawing/2014/main" id="{A913DB87-AE04-4B9F-975F-C321CD0D7C39}"/>
              </a:ext>
            </a:extLst>
          </p:cNvPr>
          <p:cNvSpPr/>
          <p:nvPr/>
        </p:nvSpPr>
        <p:spPr>
          <a:xfrm>
            <a:off x="6426200" y="3321694"/>
            <a:ext cx="218109" cy="2872733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914400 h 1005840"/>
              <a:gd name="connsiteX1" fmla="*/ 0 w 1005840"/>
              <a:gd name="connsiteY1" fmla="*/ 914400 h 1005840"/>
              <a:gd name="connsiteX2" fmla="*/ 0 w 1005840"/>
              <a:gd name="connsiteY2" fmla="*/ 0 h 1005840"/>
              <a:gd name="connsiteX3" fmla="*/ 914400 w 1005840"/>
              <a:gd name="connsiteY3" fmla="*/ 0 h 1005840"/>
              <a:gd name="connsiteX4" fmla="*/ 1005840 w 1005840"/>
              <a:gd name="connsiteY4" fmla="*/ 1005840 h 1005840"/>
              <a:gd name="connsiteX0" fmla="*/ 914400 w 998220"/>
              <a:gd name="connsiteY0" fmla="*/ 914400 h 1017270"/>
              <a:gd name="connsiteX1" fmla="*/ 0 w 998220"/>
              <a:gd name="connsiteY1" fmla="*/ 914400 h 1017270"/>
              <a:gd name="connsiteX2" fmla="*/ 0 w 998220"/>
              <a:gd name="connsiteY2" fmla="*/ 0 h 1017270"/>
              <a:gd name="connsiteX3" fmla="*/ 914400 w 998220"/>
              <a:gd name="connsiteY3" fmla="*/ 0 h 1017270"/>
              <a:gd name="connsiteX4" fmla="*/ 998220 w 998220"/>
              <a:gd name="connsiteY4" fmla="*/ 1017270 h 101727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3" fmla="*/ 914400 w 914400"/>
              <a:gd name="connsiteY3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GB" sz="180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CD9218-B26E-4507-8E53-2F5651981141}"/>
              </a:ext>
            </a:extLst>
          </p:cNvPr>
          <p:cNvCxnSpPr>
            <a:cxnSpLocks/>
            <a:stCxn id="19" idx="0"/>
          </p:cNvCxnSpPr>
          <p:nvPr/>
        </p:nvCxnSpPr>
        <p:spPr>
          <a:xfrm>
            <a:off x="6644309" y="6194425"/>
            <a:ext cx="5033343" cy="0"/>
          </a:xfrm>
          <a:prstGeom prst="line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FE9E3F7E-701C-4A0B-A75D-59447A50719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20700" y="1174250"/>
            <a:ext cx="11150600" cy="1327652"/>
          </a:xfrm>
        </p:spPr>
        <p:txBody>
          <a:bodyPr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/>
              <a:t>T</a:t>
            </a:r>
            <a:r>
              <a:rPr lang="en-US"/>
              <a:t>ITLE GOES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413FA36-7856-402C-B8C6-D549D5530D8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20701" y="3408292"/>
            <a:ext cx="2012951" cy="32855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800" b="1" dirty="0" smtClean="0">
                <a:solidFill>
                  <a:schemeClr val="bg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  <a:endParaRPr lang="en-US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1916AF90-0253-4E2C-90F6-F53036CEDF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26199" y="3408292"/>
            <a:ext cx="2012951" cy="32855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800" b="1" dirty="0" smtClean="0">
                <a:solidFill>
                  <a:schemeClr val="bg1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>
              <a:defRPr lang="en-US" dirty="0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en-IN"/>
              <a:t>HEADING</a:t>
            </a:r>
            <a:endParaRPr lang="en-US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FBBBD15-2A35-4EC2-A7B6-2ADD2D4DB23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0701" y="3770315"/>
            <a:ext cx="5251449" cy="2422525"/>
          </a:xfrm>
        </p:spPr>
        <p:txBody>
          <a:bodyPr lIns="91440" tIns="45720" rIns="91440" bIns="45720">
            <a:no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600" kern="1200" spc="-4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35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28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5985" indent="-285744"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594" indent="-228594">
              <a:defRPr/>
            </a:lvl5pPr>
          </a:lstStyle>
          <a:p>
            <a:pPr marL="173034" lvl="0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457189" lvl="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Second level</a:t>
            </a:r>
          </a:p>
          <a:p>
            <a:pPr marL="742932" lvl="2" indent="-19049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830242" lvl="3" indent="1984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Fourth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1EE82A3-EDF4-4AF9-AD58-4AFF40F3115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6201" y="3770315"/>
            <a:ext cx="5251449" cy="2422525"/>
          </a:xfrm>
        </p:spPr>
        <p:txBody>
          <a:bodyPr lIns="91440" tIns="45720" rIns="91440" bIns="45720">
            <a:noAutofit/>
          </a:bodyPr>
          <a:lstStyle>
            <a:lvl1pPr marL="173034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600" kern="1200" spc="-4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35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28" indent="-342891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5985" indent="-285744"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594" indent="-228594">
              <a:defRPr/>
            </a:lvl5pPr>
          </a:lstStyle>
          <a:p>
            <a:pPr marL="173034" lvl="0" indent="-173034" algn="l" defTabSz="914377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457189" lvl="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Second level</a:t>
            </a:r>
          </a:p>
          <a:p>
            <a:pPr marL="742932" lvl="2" indent="-190495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830242" lvl="3" indent="1984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–"/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26168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95692FC-365B-442C-B346-23FD917E98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8439" r="37803"/>
          <a:stretch/>
        </p:blipFill>
        <p:spPr>
          <a:xfrm>
            <a:off x="7569843" y="0"/>
            <a:ext cx="462215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DABBA0-02C3-4CAD-BBC8-C94A1547F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324" y="1493006"/>
            <a:ext cx="477602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2C385CF-5E01-4659-9C54-C45B3F4341F8}"/>
              </a:ext>
            </a:extLst>
          </p:cNvPr>
          <p:cNvSpPr/>
          <p:nvPr userDrawn="1"/>
        </p:nvSpPr>
        <p:spPr>
          <a:xfrm>
            <a:off x="844952" y="697376"/>
            <a:ext cx="8090704" cy="474838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92198-5E08-49A5-999A-3A441B9AC0F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043921" y="6356352"/>
            <a:ext cx="6273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E172A5-4D9B-44A1-BA41-CF20917287CC}"/>
              </a:ext>
            </a:extLst>
          </p:cNvPr>
          <p:cNvSpPr/>
          <p:nvPr userDrawn="1"/>
        </p:nvSpPr>
        <p:spPr>
          <a:xfrm>
            <a:off x="0" y="1644688"/>
            <a:ext cx="1993392" cy="10221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D4391F-E316-43A9-BBB7-9F617857C780}"/>
              </a:ext>
            </a:extLst>
          </p:cNvPr>
          <p:cNvSpPr/>
          <p:nvPr userDrawn="1"/>
        </p:nvSpPr>
        <p:spPr>
          <a:xfrm>
            <a:off x="0" y="1644688"/>
            <a:ext cx="182880" cy="10221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C4B8006-6D20-4591-AF40-5A4B089FDD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2324" y="3067487"/>
            <a:ext cx="4776024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9350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1F82CF-E1C8-4DBF-B07A-643CBB0D9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14B7A9-07EF-4B00-A94E-D55C970103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AE1632-6538-4BC5-ACDD-34CCD2BA1A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852D53-C7D8-430E-98F6-4AC23810E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815B8-30CA-4C66-A708-60070A4DFD77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86F223-42D3-4F77-BFDE-D784A0CD8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19DDD8-AA2B-461F-98DB-0137C4A7E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07F4C-1531-4DD5-B40A-2B28AA736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641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E5DF80-A7AA-488C-8C76-E57CFE700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D0F218-0B90-43C2-A3D3-5F64BBF37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A9F488-964B-419E-AC12-3ACFE37F9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61CCA97-159D-4082-9038-1F625D92FA47}"/>
              </a:ext>
            </a:extLst>
          </p:cNvPr>
          <p:cNvGrpSpPr/>
          <p:nvPr userDrawn="1"/>
        </p:nvGrpSpPr>
        <p:grpSpPr>
          <a:xfrm>
            <a:off x="0" y="0"/>
            <a:ext cx="1828800" cy="73152"/>
            <a:chOff x="85490" y="5421819"/>
            <a:chExt cx="9411633" cy="29550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C040015-7053-42E9-8FAC-08B2FCB8E692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0B9BD2-CD24-442C-A47A-9A3376FA786A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9C33241-0DE8-43E3-9446-43E4144D51AC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60261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37CAE-BB7F-42A9-92DE-2133FA58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699" y="2002632"/>
            <a:ext cx="6377811" cy="2852737"/>
          </a:xfrm>
        </p:spPr>
        <p:txBody>
          <a:bodyPr anchor="ctr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31268-3449-47EC-8584-83E899ED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CE7B4B5-AC27-4DE7-9A3F-2DEC0D1B3E83}"/>
              </a:ext>
            </a:extLst>
          </p:cNvPr>
          <p:cNvGrpSpPr/>
          <p:nvPr userDrawn="1"/>
        </p:nvGrpSpPr>
        <p:grpSpPr>
          <a:xfrm>
            <a:off x="520700" y="1746123"/>
            <a:ext cx="1828800" cy="73152"/>
            <a:chOff x="85490" y="5421819"/>
            <a:chExt cx="9411633" cy="29550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72191FD-0CF0-4969-B92E-F90217E737E5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F08A5F-E6CA-48E5-A864-D70CB0605FAF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886A2C1-2089-432C-8F25-85C76B8D23DB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" name="Picture 14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CD7EF2CE-88A7-4195-AE5B-69D315B593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4729" y="0"/>
            <a:ext cx="48014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493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C65A4-163F-435D-B7B7-BEFA97AA3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397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1188D9-81A6-4F64-A83C-F4174A8707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00" y="365125"/>
            <a:ext cx="11150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0A0D2B-1A57-4D6A-BEF8-4A36826EA3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700" y="1825625"/>
            <a:ext cx="11150600" cy="43513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44B0E8-FD7C-4B6E-9710-AE29FA8D05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3920" y="6356350"/>
            <a:ext cx="62738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6983196E-16A4-4C04-A414-459A5F5E28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80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753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96925" indent="-339725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02">
          <p15:clr>
            <a:srgbClr val="F26B43"/>
          </p15:clr>
        </p15:guide>
        <p15:guide id="2" pos="328">
          <p15:clr>
            <a:srgbClr val="F26B43"/>
          </p15:clr>
        </p15:guide>
        <p15:guide id="3" pos="7352">
          <p15:clr>
            <a:srgbClr val="F26B43"/>
          </p15:clr>
        </p15:guide>
        <p15:guide id="4" orient="horz" pos="223">
          <p15:clr>
            <a:srgbClr val="F26B43"/>
          </p15:clr>
        </p15:guide>
        <p15:guide id="5" orient="horz" pos="11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0DAE3A-6ADE-49C2-AABA-F0FFC9B27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5842B7-694D-48A9-A4E5-40A636077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D2F72A-6337-4352-BD21-C146E9DCE2E7}"/>
              </a:ext>
            </a:extLst>
          </p:cNvPr>
          <p:cNvGrpSpPr/>
          <p:nvPr/>
        </p:nvGrpSpPr>
        <p:grpSpPr>
          <a:xfrm>
            <a:off x="0" y="6766560"/>
            <a:ext cx="5584166" cy="91440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E52E6C5-5D51-4ABE-8C89-8FE94C98A65A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91F8D4E-C177-4231-B1C9-83B2399DCB0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685372A-2122-43AE-9678-E4BD2889E85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4ECB9AB-CB8B-43A1-BA65-A49E6E7D012D}"/>
              </a:ext>
            </a:extLst>
          </p:cNvPr>
          <p:cNvGrpSpPr/>
          <p:nvPr userDrawn="1"/>
        </p:nvGrpSpPr>
        <p:grpSpPr>
          <a:xfrm>
            <a:off x="10670875" y="235"/>
            <a:ext cx="1521125" cy="91440"/>
            <a:chOff x="85490" y="5421819"/>
            <a:chExt cx="9411633" cy="29550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8E91FCE-C3E0-417C-940B-21136B53DA38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5836E57-7FA5-4D88-9168-55ACEFCA6A19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D3C9602-1EFB-4D22-8FA6-7682BB1544C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6620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">
          <p15:clr>
            <a:srgbClr val="F26B43"/>
          </p15:clr>
        </p15:guide>
        <p15:guide id="2" pos="528">
          <p15:clr>
            <a:srgbClr val="F26B43"/>
          </p15:clr>
        </p15:guide>
        <p15:guide id="3" pos="7152">
          <p15:clr>
            <a:srgbClr val="F26B43"/>
          </p15:clr>
        </p15:guide>
        <p15:guide id="4" orient="horz" pos="1075">
          <p15:clr>
            <a:srgbClr val="F26B43"/>
          </p15:clr>
        </p15:guide>
        <p15:guide id="5" orient="horz" pos="1133">
          <p15:clr>
            <a:srgbClr val="F26B43"/>
          </p15:clr>
        </p15:guide>
        <p15:guide id="6" orient="horz" pos="3907">
          <p15:clr>
            <a:srgbClr val="F26B43"/>
          </p15:clr>
        </p15:guide>
        <p15:guide id="7" orient="horz" pos="11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0DAE3A-6ADE-49C2-AABA-F0FFC9B27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5842B7-694D-48A9-A4E5-40A636077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D2F72A-6337-4352-BD21-C146E9DCE2E7}"/>
              </a:ext>
            </a:extLst>
          </p:cNvPr>
          <p:cNvGrpSpPr/>
          <p:nvPr/>
        </p:nvGrpSpPr>
        <p:grpSpPr>
          <a:xfrm>
            <a:off x="0" y="6766560"/>
            <a:ext cx="5584166" cy="91440"/>
            <a:chOff x="85490" y="5421819"/>
            <a:chExt cx="9411633" cy="29550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E52E6C5-5D51-4ABE-8C89-8FE94C98A65A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91F8D4E-C177-4231-B1C9-83B2399DCB01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685372A-2122-43AE-9678-E4BD2889E85D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4ECB9AB-CB8B-43A1-BA65-A49E6E7D012D}"/>
              </a:ext>
            </a:extLst>
          </p:cNvPr>
          <p:cNvGrpSpPr/>
          <p:nvPr userDrawn="1"/>
        </p:nvGrpSpPr>
        <p:grpSpPr>
          <a:xfrm>
            <a:off x="10670875" y="235"/>
            <a:ext cx="1521125" cy="91440"/>
            <a:chOff x="85490" y="5421819"/>
            <a:chExt cx="9411633" cy="29550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8E91FCE-C3E0-417C-940B-21136B53DA38}"/>
                </a:ext>
              </a:extLst>
            </p:cNvPr>
            <p:cNvSpPr/>
            <p:nvPr/>
          </p:nvSpPr>
          <p:spPr>
            <a:xfrm>
              <a:off x="6359912" y="5421819"/>
              <a:ext cx="3137211" cy="2955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5836E57-7FA5-4D88-9168-55ACEFCA6A19}"/>
                </a:ext>
              </a:extLst>
            </p:cNvPr>
            <p:cNvSpPr/>
            <p:nvPr/>
          </p:nvSpPr>
          <p:spPr>
            <a:xfrm>
              <a:off x="85490" y="5421819"/>
              <a:ext cx="3137211" cy="295508"/>
            </a:xfrm>
            <a:prstGeom prst="rect">
              <a:avLst/>
            </a:prstGeom>
            <a:solidFill>
              <a:srgbClr val="183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D3C9602-1EFB-4D22-8FA6-7682BB1544C0}"/>
                </a:ext>
              </a:extLst>
            </p:cNvPr>
            <p:cNvSpPr/>
            <p:nvPr/>
          </p:nvSpPr>
          <p:spPr>
            <a:xfrm>
              <a:off x="3222701" y="5421819"/>
              <a:ext cx="3137211" cy="2955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874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">
          <p15:clr>
            <a:srgbClr val="F26B43"/>
          </p15:clr>
        </p15:guide>
        <p15:guide id="2" pos="528">
          <p15:clr>
            <a:srgbClr val="F26B43"/>
          </p15:clr>
        </p15:guide>
        <p15:guide id="3" pos="7152">
          <p15:clr>
            <a:srgbClr val="F26B43"/>
          </p15:clr>
        </p15:guide>
        <p15:guide id="4" orient="horz" pos="1075">
          <p15:clr>
            <a:srgbClr val="F26B43"/>
          </p15:clr>
        </p15:guide>
        <p15:guide id="5" orient="horz" pos="1133">
          <p15:clr>
            <a:srgbClr val="F26B43"/>
          </p15:clr>
        </p15:guide>
        <p15:guide id="6" orient="horz" pos="3907">
          <p15:clr>
            <a:srgbClr val="F26B43"/>
          </p15:clr>
        </p15:guide>
        <p15:guide id="7" orient="horz" pos="11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emf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emf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EF04F-0957-ADB1-995B-E2876332F1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ynamics 365 CE Sales Express Implementation Op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829BA0-51EC-3629-959C-4A4F455BE2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14607069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44337-72AB-64FC-8854-863AB821D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57" y="2002632"/>
            <a:ext cx="11628407" cy="2852737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57CED3-1846-419D-4258-949A125BC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83196E-16A4-4C04-A414-459A5F5E2852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7395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EA380-AA92-8715-D122-53DD7E44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Qualifying Leads</a:t>
            </a:r>
            <a:b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</a:b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56545B">
                    <a:lumMod val="60000"/>
                    <a:lumOff val="40000"/>
                  </a:srgbClr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Lead </a:t>
            </a:r>
            <a:r>
              <a:rPr lang="en-US" sz="3200" i="1" dirty="0">
                <a:solidFill>
                  <a:srgbClr val="56545B">
                    <a:lumMod val="60000"/>
                    <a:lumOff val="40000"/>
                  </a:srgbClr>
                </a:solidFill>
                <a:latin typeface="Georgia"/>
              </a:rPr>
              <a:t>to Opportunity </a:t>
            </a: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56545B">
                    <a:lumMod val="60000"/>
                    <a:lumOff val="40000"/>
                  </a:srgbClr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Business Process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925FA-C7C1-A9C9-3458-24591B44F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83196E-16A4-4C04-A414-459A5F5E28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B3E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8FE7E5-B139-6610-7A47-BBE9CB9988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880" y="1671831"/>
            <a:ext cx="7134005" cy="3453378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0ECFBAF-0DEE-477D-39B0-EECACB3B06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03924" y="2222831"/>
            <a:ext cx="9069916" cy="4406852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95388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33F63A-6BD4-72D8-BAE6-238F1E1428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880" y="1681260"/>
            <a:ext cx="7455052" cy="3453378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88EA380-AA92-8715-D122-53DD7E44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Developing an Opportunity</a:t>
            </a:r>
            <a:b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</a:b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56545B">
                    <a:lumMod val="60000"/>
                    <a:lumOff val="40000"/>
                  </a:srgbClr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Lead to Opportunity Business Process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925FA-C7C1-A9C9-3458-24591B44F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83196E-16A4-4C04-A414-459A5F5E28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B3E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23DD40-9F0D-3525-2CCE-B3D6D00CF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7364" y="2243151"/>
            <a:ext cx="9688473" cy="4406852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945187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33F63A-6BD4-72D8-BAE6-238F1E1428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880" y="1685347"/>
            <a:ext cx="7455052" cy="3445204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88EA380-AA92-8715-D122-53DD7E44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Proposing a Solution</a:t>
            </a:r>
            <a:b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</a:b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56545B">
                    <a:lumMod val="60000"/>
                    <a:lumOff val="40000"/>
                  </a:srgbClr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Lead to Opportunity Business Process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925FA-C7C1-A9C9-3458-24591B44F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83196E-16A4-4C04-A414-459A5F5E28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B3E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23DD40-9F0D-3525-2CCE-B3D6D00CF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72088" y="2243151"/>
            <a:ext cx="9519025" cy="4406852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26209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33F63A-6BD4-72D8-BAE6-238F1E1428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751" y="1681260"/>
            <a:ext cx="7413309" cy="3453378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88EA380-AA92-8715-D122-53DD7E44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Closing an Opportunity</a:t>
            </a:r>
            <a:b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</a:b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56545B">
                    <a:lumMod val="60000"/>
                    <a:lumOff val="40000"/>
                  </a:srgbClr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Lead to Opportunity Business Process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925FA-C7C1-A9C9-3458-24591B44F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83196E-16A4-4C04-A414-459A5F5E28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3E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B3E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23DD40-9F0D-3525-2CCE-B3D6D00CF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3320" y="2222831"/>
            <a:ext cx="9316239" cy="4406852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81271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602A0C-9DDE-67ED-6452-804674A43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7804D4-8B90-E2F5-2403-7571DBA2F2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442D95-F676-B309-833B-9290448D6F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crosoft Platform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4B2A04-B7FE-4D2E-6E57-6895AD565B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81DA3E-F8BC-34E3-B3F7-1B36C1E689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ales Offer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C31A7-AE16-DF57-1AB6-CA3A694A87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0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1CBD29-9F43-C568-76BF-D148933BD5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dirty="0"/>
              <a:t>A Day in the Life of a Seller </a:t>
            </a:r>
            <a:br>
              <a:rPr lang="en-US" dirty="0"/>
            </a:br>
            <a:r>
              <a:rPr lang="en-US" sz="2000" dirty="0"/>
              <a:t>with the CE Sales Express Solu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ACE9BA-B055-214C-5942-65226074B2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0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43F2A4-F842-C7EB-964D-24CCA3D88F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Pricing and Contract Details for Sales Offering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6E45996-CDB9-C21E-755C-E4C3777A54D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0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1F789CB-DAFB-16BC-2F2D-D2EAD10FDC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5CA6E2F-7D05-5D5F-E2D1-C59445BFDC6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1675859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TextBox 121">
            <a:extLst>
              <a:ext uri="{FF2B5EF4-FFF2-40B4-BE49-F238E27FC236}">
                <a16:creationId xmlns:a16="http://schemas.microsoft.com/office/drawing/2014/main" id="{24C52C38-169E-4082-990C-2BC68A881FD1}"/>
              </a:ext>
            </a:extLst>
          </p:cNvPr>
          <p:cNvSpPr txBox="1"/>
          <p:nvPr/>
        </p:nvSpPr>
        <p:spPr>
          <a:xfrm>
            <a:off x="959753" y="3216488"/>
            <a:ext cx="1005840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rn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DF5DAE2B-890C-4FDD-B69B-A7CBA2F6752D}"/>
              </a:ext>
            </a:extLst>
          </p:cNvPr>
          <p:cNvSpPr txBox="1"/>
          <p:nvPr/>
        </p:nvSpPr>
        <p:spPr>
          <a:xfrm>
            <a:off x="2408990" y="3216488"/>
            <a:ext cx="1005840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fi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0046C321-A98A-4886-9A3D-7D333E5C8540}"/>
              </a:ext>
            </a:extLst>
          </p:cNvPr>
          <p:cNvSpPr txBox="1"/>
          <p:nvPr/>
        </p:nvSpPr>
        <p:spPr>
          <a:xfrm>
            <a:off x="8721345" y="3216488"/>
            <a:ext cx="1122184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lligent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4F6E19B-7C0A-4BB3-96BC-7D735CA1909C}"/>
              </a:ext>
            </a:extLst>
          </p:cNvPr>
          <p:cNvSpPr txBox="1"/>
          <p:nvPr/>
        </p:nvSpPr>
        <p:spPr>
          <a:xfrm>
            <a:off x="10147300" y="3216488"/>
            <a:ext cx="1084759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aptable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321078FE-EACB-4623-A9AD-1E6BE0DDABA0}"/>
              </a:ext>
            </a:extLst>
          </p:cNvPr>
          <p:cNvCxnSpPr>
            <a:cxnSpLocks/>
            <a:stCxn id="130" idx="3"/>
          </p:cNvCxnSpPr>
          <p:nvPr/>
        </p:nvCxnSpPr>
        <p:spPr>
          <a:xfrm>
            <a:off x="11232059" y="3429000"/>
            <a:ext cx="501941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oval" w="sm" len="sm"/>
          </a:ln>
          <a:effectLst/>
        </p:spPr>
      </p:cxn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7698D898-A624-4518-BE99-915E2B8D27D0}"/>
              </a:ext>
            </a:extLst>
          </p:cNvPr>
          <p:cNvGrpSpPr/>
          <p:nvPr/>
        </p:nvGrpSpPr>
        <p:grpSpPr>
          <a:xfrm>
            <a:off x="3820547" y="1143001"/>
            <a:ext cx="4550906" cy="4572000"/>
            <a:chOff x="3820547" y="1143001"/>
            <a:chExt cx="4550906" cy="4572000"/>
          </a:xfrm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D691CFCE-6E84-4FC0-B4C7-97A061A7B7CD}"/>
                </a:ext>
              </a:extLst>
            </p:cNvPr>
            <p:cNvSpPr/>
            <p:nvPr/>
          </p:nvSpPr>
          <p:spPr>
            <a:xfrm>
              <a:off x="3820547" y="1143001"/>
              <a:ext cx="4550906" cy="2077082"/>
            </a:xfrm>
            <a:custGeom>
              <a:avLst/>
              <a:gdLst>
                <a:gd name="connsiteX0" fmla="*/ 2514518 w 5029037"/>
                <a:gd name="connsiteY0" fmla="*/ 0 h 2295307"/>
                <a:gd name="connsiteX1" fmla="*/ 5027652 w 5029037"/>
                <a:gd name="connsiteY1" fmla="*/ 2267888 h 2295307"/>
                <a:gd name="connsiteX2" fmla="*/ 5029037 w 5029037"/>
                <a:gd name="connsiteY2" fmla="*/ 2295307 h 2295307"/>
                <a:gd name="connsiteX3" fmla="*/ 0 w 5029037"/>
                <a:gd name="connsiteY3" fmla="*/ 2295307 h 2295307"/>
                <a:gd name="connsiteX4" fmla="*/ 1384 w 5029037"/>
                <a:gd name="connsiteY4" fmla="*/ 2267888 h 2295307"/>
                <a:gd name="connsiteX5" fmla="*/ 2514518 w 5029037"/>
                <a:gd name="connsiteY5" fmla="*/ 0 h 229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29037" h="2295307">
                  <a:moveTo>
                    <a:pt x="2514518" y="0"/>
                  </a:moveTo>
                  <a:cubicBezTo>
                    <a:pt x="3822488" y="0"/>
                    <a:pt x="4898286" y="994049"/>
                    <a:pt x="5027652" y="2267888"/>
                  </a:cubicBezTo>
                  <a:lnTo>
                    <a:pt x="5029037" y="2295307"/>
                  </a:lnTo>
                  <a:lnTo>
                    <a:pt x="0" y="2295307"/>
                  </a:lnTo>
                  <a:lnTo>
                    <a:pt x="1384" y="2267888"/>
                  </a:lnTo>
                  <a:cubicBezTo>
                    <a:pt x="130750" y="994049"/>
                    <a:pt x="1206548" y="0"/>
                    <a:pt x="251451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C801B937-3C41-4DBF-8218-06E80773C42A}"/>
                </a:ext>
              </a:extLst>
            </p:cNvPr>
            <p:cNvSpPr/>
            <p:nvPr/>
          </p:nvSpPr>
          <p:spPr>
            <a:xfrm>
              <a:off x="3820547" y="3637920"/>
              <a:ext cx="4550905" cy="2077081"/>
            </a:xfrm>
            <a:custGeom>
              <a:avLst/>
              <a:gdLst>
                <a:gd name="connsiteX0" fmla="*/ 0 w 5029036"/>
                <a:gd name="connsiteY0" fmla="*/ 0 h 2295306"/>
                <a:gd name="connsiteX1" fmla="*/ 5029036 w 5029036"/>
                <a:gd name="connsiteY1" fmla="*/ 0 h 2295306"/>
                <a:gd name="connsiteX2" fmla="*/ 5027652 w 5029036"/>
                <a:gd name="connsiteY2" fmla="*/ 27418 h 2295306"/>
                <a:gd name="connsiteX3" fmla="*/ 2514518 w 5029036"/>
                <a:gd name="connsiteY3" fmla="*/ 2295306 h 2295306"/>
                <a:gd name="connsiteX4" fmla="*/ 1384 w 5029036"/>
                <a:gd name="connsiteY4" fmla="*/ 27418 h 2295306"/>
                <a:gd name="connsiteX5" fmla="*/ 0 w 5029036"/>
                <a:gd name="connsiteY5" fmla="*/ 0 h 229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29036" h="2295306">
                  <a:moveTo>
                    <a:pt x="0" y="0"/>
                  </a:moveTo>
                  <a:lnTo>
                    <a:pt x="5029036" y="0"/>
                  </a:lnTo>
                  <a:lnTo>
                    <a:pt x="5027652" y="27418"/>
                  </a:lnTo>
                  <a:cubicBezTo>
                    <a:pt x="4898286" y="1301257"/>
                    <a:pt x="3822488" y="2295306"/>
                    <a:pt x="2514518" y="2295306"/>
                  </a:cubicBezTo>
                  <a:cubicBezTo>
                    <a:pt x="1206548" y="2295306"/>
                    <a:pt x="130750" y="1301257"/>
                    <a:pt x="1384" y="274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51" name="Oval 150">
            <a:extLst>
              <a:ext uri="{FF2B5EF4-FFF2-40B4-BE49-F238E27FC236}">
                <a16:creationId xmlns:a16="http://schemas.microsoft.com/office/drawing/2014/main" id="{1A955C8E-950A-4817-A1AC-B7DD323E882B}"/>
              </a:ext>
            </a:extLst>
          </p:cNvPr>
          <p:cNvSpPr/>
          <p:nvPr/>
        </p:nvSpPr>
        <p:spPr>
          <a:xfrm>
            <a:off x="4281189" y="1614194"/>
            <a:ext cx="3629618" cy="3629612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E664F76-53A3-4138-8BD6-78C03EF6411D}"/>
              </a:ext>
            </a:extLst>
          </p:cNvPr>
          <p:cNvSpPr/>
          <p:nvPr/>
        </p:nvSpPr>
        <p:spPr>
          <a:xfrm>
            <a:off x="5135940" y="2468931"/>
            <a:ext cx="1920141" cy="1920133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>
            <a:outerShdw blurRad="381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1B3E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96BA6927-C417-43A3-BE8A-3D12D7FEB1BE}"/>
              </a:ext>
            </a:extLst>
          </p:cNvPr>
          <p:cNvGrpSpPr/>
          <p:nvPr/>
        </p:nvGrpSpPr>
        <p:grpSpPr>
          <a:xfrm>
            <a:off x="4104174" y="1403291"/>
            <a:ext cx="4051420" cy="4051418"/>
            <a:chOff x="4104174" y="1403291"/>
            <a:chExt cx="4051420" cy="4051418"/>
          </a:xfrm>
        </p:grpSpPr>
        <p:sp>
          <p:nvSpPr>
            <p:cNvPr id="155" name="Arc 154">
              <a:extLst>
                <a:ext uri="{FF2B5EF4-FFF2-40B4-BE49-F238E27FC236}">
                  <a16:creationId xmlns:a16="http://schemas.microsoft.com/office/drawing/2014/main" id="{B02DB502-C894-4FC7-A780-2BDE58B6C91B}"/>
                </a:ext>
              </a:extLst>
            </p:cNvPr>
            <p:cNvSpPr/>
            <p:nvPr/>
          </p:nvSpPr>
          <p:spPr>
            <a:xfrm>
              <a:off x="4104174" y="1403291"/>
              <a:ext cx="4051420" cy="4051418"/>
            </a:xfrm>
            <a:prstGeom prst="arc">
              <a:avLst>
                <a:gd name="adj1" fmla="val 11466286"/>
                <a:gd name="adj2" fmla="val 19176918"/>
              </a:avLst>
            </a:prstGeom>
            <a:ln w="22225" cap="rnd">
              <a:solidFill>
                <a:schemeClr val="bg1"/>
              </a:solidFill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Data">
              <a:extLst>
                <a:ext uri="{FF2B5EF4-FFF2-40B4-BE49-F238E27FC236}">
                  <a16:creationId xmlns:a16="http://schemas.microsoft.com/office/drawing/2014/main" id="{2D2F21C8-0C93-4427-B9D5-1E8878E85123}"/>
                </a:ext>
              </a:extLst>
            </p:cNvPr>
            <p:cNvSpPr txBox="1"/>
            <p:nvPr/>
          </p:nvSpPr>
          <p:spPr>
            <a:xfrm rot="3919874">
              <a:off x="7243625" y="2474741"/>
              <a:ext cx="917321" cy="525815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Data</a:t>
              </a: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0638A74F-EB01-429F-945D-089C536B47EE}"/>
              </a:ext>
            </a:extLst>
          </p:cNvPr>
          <p:cNvGrpSpPr/>
          <p:nvPr/>
        </p:nvGrpSpPr>
        <p:grpSpPr>
          <a:xfrm>
            <a:off x="4104174" y="1403291"/>
            <a:ext cx="4051420" cy="4054021"/>
            <a:chOff x="4104174" y="1403291"/>
            <a:chExt cx="4051420" cy="4054021"/>
          </a:xfrm>
        </p:grpSpPr>
        <p:sp>
          <p:nvSpPr>
            <p:cNvPr id="158" name="Data">
              <a:extLst>
                <a:ext uri="{FF2B5EF4-FFF2-40B4-BE49-F238E27FC236}">
                  <a16:creationId xmlns:a16="http://schemas.microsoft.com/office/drawing/2014/main" id="{6E5B9DC9-FBFF-4B78-9D10-556B23B7F409}"/>
                </a:ext>
              </a:extLst>
            </p:cNvPr>
            <p:cNvSpPr txBox="1"/>
            <p:nvPr/>
          </p:nvSpPr>
          <p:spPr>
            <a:xfrm rot="3125471">
              <a:off x="3806092" y="4158537"/>
              <a:ext cx="1893014" cy="704536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Intelligence </a:t>
              </a:r>
            </a:p>
          </p:txBody>
        </p:sp>
        <p:sp>
          <p:nvSpPr>
            <p:cNvPr id="160" name="Arc 159">
              <a:extLst>
                <a:ext uri="{FF2B5EF4-FFF2-40B4-BE49-F238E27FC236}">
                  <a16:creationId xmlns:a16="http://schemas.microsoft.com/office/drawing/2014/main" id="{32B85736-68C8-498C-A7BB-508DEB4C5576}"/>
                </a:ext>
              </a:extLst>
            </p:cNvPr>
            <p:cNvSpPr/>
            <p:nvPr/>
          </p:nvSpPr>
          <p:spPr>
            <a:xfrm>
              <a:off x="4104174" y="1403291"/>
              <a:ext cx="4051420" cy="4051418"/>
            </a:xfrm>
            <a:prstGeom prst="arc">
              <a:avLst>
                <a:gd name="adj1" fmla="val 768300"/>
                <a:gd name="adj2" fmla="val 6969694"/>
              </a:avLst>
            </a:prstGeom>
            <a:ln w="22225" cap="rnd">
              <a:solidFill>
                <a:schemeClr val="bg1"/>
              </a:solidFill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61" name="Picture 160">
            <a:extLst>
              <a:ext uri="{FF2B5EF4-FFF2-40B4-BE49-F238E27FC236}">
                <a16:creationId xmlns:a16="http://schemas.microsoft.com/office/drawing/2014/main" id="{B96727E4-AB4A-4D86-83C8-06F7EA60FD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1081" y="3346841"/>
            <a:ext cx="1629859" cy="164311"/>
          </a:xfrm>
          <a:prstGeom prst="rect">
            <a:avLst/>
          </a:prstGeom>
        </p:spPr>
      </p:pic>
      <p:grpSp>
        <p:nvGrpSpPr>
          <p:cNvPr id="162" name="Group 161">
            <a:extLst>
              <a:ext uri="{FF2B5EF4-FFF2-40B4-BE49-F238E27FC236}">
                <a16:creationId xmlns:a16="http://schemas.microsoft.com/office/drawing/2014/main" id="{0EA65D10-85F9-49C8-86A1-96B6EE8DC7BC}"/>
              </a:ext>
            </a:extLst>
          </p:cNvPr>
          <p:cNvGrpSpPr/>
          <p:nvPr/>
        </p:nvGrpSpPr>
        <p:grpSpPr>
          <a:xfrm>
            <a:off x="5888819" y="1779752"/>
            <a:ext cx="448649" cy="613553"/>
            <a:chOff x="5888819" y="1779752"/>
            <a:chExt cx="448649" cy="613553"/>
          </a:xfrm>
        </p:grpSpPr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BF9D0B53-BA49-4614-B06D-E4E60AA94FC1}"/>
                </a:ext>
              </a:extLst>
            </p:cNvPr>
            <p:cNvSpPr txBox="1"/>
            <p:nvPr/>
          </p:nvSpPr>
          <p:spPr>
            <a:xfrm>
              <a:off x="5888819" y="2208639"/>
              <a:ext cx="44864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</a:t>
              </a:r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13EE72BE-C993-4A09-83FC-B5C627C6579A}"/>
                </a:ext>
              </a:extLst>
            </p:cNvPr>
            <p:cNvGrpSpPr/>
            <p:nvPr/>
          </p:nvGrpSpPr>
          <p:grpSpPr>
            <a:xfrm>
              <a:off x="5945571" y="1779752"/>
              <a:ext cx="300854" cy="374648"/>
              <a:chOff x="4987634" y="114862"/>
              <a:chExt cx="332511" cy="414069"/>
            </a:xfrm>
            <a:solidFill>
              <a:schemeClr val="bg1"/>
            </a:solidFill>
          </p:grpSpPr>
          <p:grpSp>
            <p:nvGrpSpPr>
              <p:cNvPr id="165" name="Group 89">
                <a:extLst>
                  <a:ext uri="{FF2B5EF4-FFF2-40B4-BE49-F238E27FC236}">
                    <a16:creationId xmlns:a16="http://schemas.microsoft.com/office/drawing/2014/main" id="{64EF4159-6343-4C2F-A6AE-2DD8B22020F6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87634" y="114862"/>
                <a:ext cx="332511" cy="414069"/>
                <a:chOff x="1596" y="1479"/>
                <a:chExt cx="159" cy="198"/>
              </a:xfrm>
              <a:grpFill/>
            </p:grpSpPr>
            <p:sp>
              <p:nvSpPr>
                <p:cNvPr id="169" name="Freeform 90">
                  <a:extLst>
                    <a:ext uri="{FF2B5EF4-FFF2-40B4-BE49-F238E27FC236}">
                      <a16:creationId xmlns:a16="http://schemas.microsoft.com/office/drawing/2014/main" id="{4EB877E4-23B5-4AEF-BC9B-1E50F830E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2" y="1479"/>
                  <a:ext cx="106" cy="106"/>
                </a:xfrm>
                <a:custGeom>
                  <a:avLst/>
                  <a:gdLst>
                    <a:gd name="T0" fmla="*/ 85 w 170"/>
                    <a:gd name="T1" fmla="*/ 170 h 170"/>
                    <a:gd name="T2" fmla="*/ 85 w 170"/>
                    <a:gd name="T3" fmla="*/ 170 h 170"/>
                    <a:gd name="T4" fmla="*/ 170 w 170"/>
                    <a:gd name="T5" fmla="*/ 85 h 170"/>
                    <a:gd name="T6" fmla="*/ 120 w 170"/>
                    <a:gd name="T7" fmla="*/ 7 h 170"/>
                    <a:gd name="T8" fmla="*/ 85 w 170"/>
                    <a:gd name="T9" fmla="*/ 0 h 170"/>
                    <a:gd name="T10" fmla="*/ 50 w 170"/>
                    <a:gd name="T11" fmla="*/ 7 h 170"/>
                    <a:gd name="T12" fmla="*/ 0 w 170"/>
                    <a:gd name="T13" fmla="*/ 85 h 170"/>
                    <a:gd name="T14" fmla="*/ 85 w 170"/>
                    <a:gd name="T15" fmla="*/ 170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0" h="170">
                      <a:moveTo>
                        <a:pt x="85" y="170"/>
                      </a:moveTo>
                      <a:lnTo>
                        <a:pt x="85" y="170"/>
                      </a:lnTo>
                      <a:cubicBezTo>
                        <a:pt x="132" y="170"/>
                        <a:pt x="170" y="132"/>
                        <a:pt x="170" y="85"/>
                      </a:cubicBezTo>
                      <a:cubicBezTo>
                        <a:pt x="170" y="50"/>
                        <a:pt x="150" y="21"/>
                        <a:pt x="120" y="7"/>
                      </a:cubicBezTo>
                      <a:cubicBezTo>
                        <a:pt x="110" y="2"/>
                        <a:pt x="98" y="0"/>
                        <a:pt x="85" y="0"/>
                      </a:cubicBezTo>
                      <a:cubicBezTo>
                        <a:pt x="72" y="0"/>
                        <a:pt x="60" y="2"/>
                        <a:pt x="50" y="7"/>
                      </a:cubicBezTo>
                      <a:cubicBezTo>
                        <a:pt x="20" y="21"/>
                        <a:pt x="0" y="50"/>
                        <a:pt x="0" y="85"/>
                      </a:cubicBezTo>
                      <a:cubicBezTo>
                        <a:pt x="0" y="132"/>
                        <a:pt x="38" y="170"/>
                        <a:pt x="85" y="17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91">
                  <a:extLst>
                    <a:ext uri="{FF2B5EF4-FFF2-40B4-BE49-F238E27FC236}">
                      <a16:creationId xmlns:a16="http://schemas.microsoft.com/office/drawing/2014/main" id="{AD2E569B-5EA9-438D-9EF8-AC737ED9AD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6" y="1598"/>
                  <a:ext cx="159" cy="79"/>
                </a:xfrm>
                <a:custGeom>
                  <a:avLst/>
                  <a:gdLst>
                    <a:gd name="T0" fmla="*/ 128 w 256"/>
                    <a:gd name="T1" fmla="*/ 0 h 128"/>
                    <a:gd name="T2" fmla="*/ 128 w 256"/>
                    <a:gd name="T3" fmla="*/ 0 h 128"/>
                    <a:gd name="T4" fmla="*/ 0 w 256"/>
                    <a:gd name="T5" fmla="*/ 128 h 128"/>
                    <a:gd name="T6" fmla="*/ 256 w 256"/>
                    <a:gd name="T7" fmla="*/ 128 h 128"/>
                    <a:gd name="T8" fmla="*/ 128 w 256"/>
                    <a:gd name="T9" fmla="*/ 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6" h="128">
                      <a:moveTo>
                        <a:pt x="128" y="0"/>
                      </a:moveTo>
                      <a:lnTo>
                        <a:pt x="128" y="0"/>
                      </a:lnTo>
                      <a:cubicBezTo>
                        <a:pt x="57" y="0"/>
                        <a:pt x="0" y="57"/>
                        <a:pt x="0" y="128"/>
                      </a:cubicBezTo>
                      <a:lnTo>
                        <a:pt x="256" y="128"/>
                      </a:lnTo>
                      <a:cubicBezTo>
                        <a:pt x="256" y="57"/>
                        <a:pt x="199" y="0"/>
                        <a:pt x="128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" name="Group 177">
                <a:extLst>
                  <a:ext uri="{FF2B5EF4-FFF2-40B4-BE49-F238E27FC236}">
                    <a16:creationId xmlns:a16="http://schemas.microsoft.com/office/drawing/2014/main" id="{834F8298-46CF-41C6-8E52-F162724131F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95920" y="389416"/>
                <a:ext cx="126222" cy="126222"/>
                <a:chOff x="5878" y="2726"/>
                <a:chExt cx="256" cy="256"/>
              </a:xfrm>
              <a:grpFill/>
            </p:grpSpPr>
            <p:sp>
              <p:nvSpPr>
                <p:cNvPr id="167" name="AutoShape 176">
                  <a:extLst>
                    <a:ext uri="{FF2B5EF4-FFF2-40B4-BE49-F238E27FC236}">
                      <a16:creationId xmlns:a16="http://schemas.microsoft.com/office/drawing/2014/main" id="{CD51EC9C-7A2F-4D18-A6B6-075723DF6041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878" y="2726"/>
                  <a:ext cx="256" cy="256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178">
                  <a:extLst>
                    <a:ext uri="{FF2B5EF4-FFF2-40B4-BE49-F238E27FC236}">
                      <a16:creationId xmlns:a16="http://schemas.microsoft.com/office/drawing/2014/main" id="{DE08DE31-779E-4B47-9A32-5FA5C05405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8" y="2740"/>
                  <a:ext cx="264" cy="231"/>
                </a:xfrm>
                <a:custGeom>
                  <a:avLst/>
                  <a:gdLst>
                    <a:gd name="T0" fmla="*/ 33 w 425"/>
                    <a:gd name="T1" fmla="*/ 193 h 372"/>
                    <a:gd name="T2" fmla="*/ 33 w 425"/>
                    <a:gd name="T3" fmla="*/ 193 h 372"/>
                    <a:gd name="T4" fmla="*/ 213 w 425"/>
                    <a:gd name="T5" fmla="*/ 372 h 372"/>
                    <a:gd name="T6" fmla="*/ 392 w 425"/>
                    <a:gd name="T7" fmla="*/ 193 h 372"/>
                    <a:gd name="T8" fmla="*/ 417 w 425"/>
                    <a:gd name="T9" fmla="*/ 156 h 372"/>
                    <a:gd name="T10" fmla="*/ 425 w 425"/>
                    <a:gd name="T11" fmla="*/ 113 h 372"/>
                    <a:gd name="T12" fmla="*/ 416 w 425"/>
                    <a:gd name="T13" fmla="*/ 69 h 372"/>
                    <a:gd name="T14" fmla="*/ 392 w 425"/>
                    <a:gd name="T15" fmla="*/ 33 h 372"/>
                    <a:gd name="T16" fmla="*/ 356 w 425"/>
                    <a:gd name="T17" fmla="*/ 9 h 372"/>
                    <a:gd name="T18" fmla="*/ 312 w 425"/>
                    <a:gd name="T19" fmla="*/ 0 h 372"/>
                    <a:gd name="T20" fmla="*/ 282 w 425"/>
                    <a:gd name="T21" fmla="*/ 4 h 372"/>
                    <a:gd name="T22" fmla="*/ 257 w 425"/>
                    <a:gd name="T23" fmla="*/ 15 h 372"/>
                    <a:gd name="T24" fmla="*/ 235 w 425"/>
                    <a:gd name="T25" fmla="*/ 32 h 372"/>
                    <a:gd name="T26" fmla="*/ 213 w 425"/>
                    <a:gd name="T27" fmla="*/ 53 h 372"/>
                    <a:gd name="T28" fmla="*/ 191 w 425"/>
                    <a:gd name="T29" fmla="*/ 32 h 372"/>
                    <a:gd name="T30" fmla="*/ 169 w 425"/>
                    <a:gd name="T31" fmla="*/ 15 h 372"/>
                    <a:gd name="T32" fmla="*/ 144 w 425"/>
                    <a:gd name="T33" fmla="*/ 4 h 372"/>
                    <a:gd name="T34" fmla="*/ 113 w 425"/>
                    <a:gd name="T35" fmla="*/ 0 h 372"/>
                    <a:gd name="T36" fmla="*/ 69 w 425"/>
                    <a:gd name="T37" fmla="*/ 9 h 372"/>
                    <a:gd name="T38" fmla="*/ 33 w 425"/>
                    <a:gd name="T39" fmla="*/ 33 h 372"/>
                    <a:gd name="T40" fmla="*/ 9 w 425"/>
                    <a:gd name="T41" fmla="*/ 69 h 372"/>
                    <a:gd name="T42" fmla="*/ 0 w 425"/>
                    <a:gd name="T43" fmla="*/ 113 h 372"/>
                    <a:gd name="T44" fmla="*/ 9 w 425"/>
                    <a:gd name="T45" fmla="*/ 156 h 372"/>
                    <a:gd name="T46" fmla="*/ 33 w 425"/>
                    <a:gd name="T47" fmla="*/ 193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25" h="372">
                      <a:moveTo>
                        <a:pt x="33" y="193"/>
                      </a:moveTo>
                      <a:lnTo>
                        <a:pt x="33" y="193"/>
                      </a:lnTo>
                      <a:lnTo>
                        <a:pt x="213" y="372"/>
                      </a:lnTo>
                      <a:lnTo>
                        <a:pt x="392" y="193"/>
                      </a:lnTo>
                      <a:cubicBezTo>
                        <a:pt x="403" y="182"/>
                        <a:pt x="411" y="170"/>
                        <a:pt x="417" y="156"/>
                      </a:cubicBezTo>
                      <a:cubicBezTo>
                        <a:pt x="422" y="143"/>
                        <a:pt x="425" y="128"/>
                        <a:pt x="425" y="113"/>
                      </a:cubicBezTo>
                      <a:cubicBezTo>
                        <a:pt x="425" y="98"/>
                        <a:pt x="422" y="83"/>
                        <a:pt x="416" y="69"/>
                      </a:cubicBezTo>
                      <a:cubicBezTo>
                        <a:pt x="411" y="55"/>
                        <a:pt x="403" y="43"/>
                        <a:pt x="392" y="33"/>
                      </a:cubicBezTo>
                      <a:cubicBezTo>
                        <a:pt x="382" y="23"/>
                        <a:pt x="370" y="15"/>
                        <a:pt x="356" y="9"/>
                      </a:cubicBezTo>
                      <a:cubicBezTo>
                        <a:pt x="343" y="3"/>
                        <a:pt x="328" y="0"/>
                        <a:pt x="312" y="0"/>
                      </a:cubicBezTo>
                      <a:cubicBezTo>
                        <a:pt x="301" y="0"/>
                        <a:pt x="291" y="1"/>
                        <a:pt x="282" y="4"/>
                      </a:cubicBezTo>
                      <a:cubicBezTo>
                        <a:pt x="273" y="7"/>
                        <a:pt x="264" y="10"/>
                        <a:pt x="257" y="15"/>
                      </a:cubicBezTo>
                      <a:cubicBezTo>
                        <a:pt x="249" y="20"/>
                        <a:pt x="242" y="25"/>
                        <a:pt x="235" y="32"/>
                      </a:cubicBezTo>
                      <a:cubicBezTo>
                        <a:pt x="228" y="38"/>
                        <a:pt x="220" y="45"/>
                        <a:pt x="213" y="53"/>
                      </a:cubicBezTo>
                      <a:cubicBezTo>
                        <a:pt x="205" y="45"/>
                        <a:pt x="198" y="38"/>
                        <a:pt x="191" y="32"/>
                      </a:cubicBezTo>
                      <a:cubicBezTo>
                        <a:pt x="184" y="25"/>
                        <a:pt x="177" y="20"/>
                        <a:pt x="169" y="15"/>
                      </a:cubicBezTo>
                      <a:cubicBezTo>
                        <a:pt x="161" y="10"/>
                        <a:pt x="153" y="7"/>
                        <a:pt x="144" y="4"/>
                      </a:cubicBezTo>
                      <a:cubicBezTo>
                        <a:pt x="135" y="1"/>
                        <a:pt x="125" y="0"/>
                        <a:pt x="113" y="0"/>
                      </a:cubicBezTo>
                      <a:cubicBezTo>
                        <a:pt x="98" y="0"/>
                        <a:pt x="83" y="3"/>
                        <a:pt x="69" y="9"/>
                      </a:cubicBezTo>
                      <a:cubicBezTo>
                        <a:pt x="56" y="15"/>
                        <a:pt x="44" y="23"/>
                        <a:pt x="33" y="33"/>
                      </a:cubicBezTo>
                      <a:cubicBezTo>
                        <a:pt x="23" y="43"/>
                        <a:pt x="15" y="55"/>
                        <a:pt x="9" y="69"/>
                      </a:cubicBezTo>
                      <a:cubicBezTo>
                        <a:pt x="3" y="83"/>
                        <a:pt x="0" y="98"/>
                        <a:pt x="0" y="113"/>
                      </a:cubicBezTo>
                      <a:cubicBezTo>
                        <a:pt x="0" y="128"/>
                        <a:pt x="3" y="143"/>
                        <a:pt x="9" y="156"/>
                      </a:cubicBezTo>
                      <a:cubicBezTo>
                        <a:pt x="15" y="170"/>
                        <a:pt x="23" y="182"/>
                        <a:pt x="33" y="19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8AD5EE10-C0B9-4375-9B35-2EA837A9E6F2}"/>
              </a:ext>
            </a:extLst>
          </p:cNvPr>
          <p:cNvGrpSpPr/>
          <p:nvPr/>
        </p:nvGrpSpPr>
        <p:grpSpPr>
          <a:xfrm>
            <a:off x="7134548" y="2550803"/>
            <a:ext cx="392268" cy="538888"/>
            <a:chOff x="7134548" y="2550803"/>
            <a:chExt cx="392268" cy="538888"/>
          </a:xfrm>
        </p:grpSpPr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DECC1B4-5218-4D8F-99C1-67D0E473A5AA}"/>
                </a:ext>
              </a:extLst>
            </p:cNvPr>
            <p:cNvSpPr txBox="1"/>
            <p:nvPr/>
          </p:nvSpPr>
          <p:spPr>
            <a:xfrm>
              <a:off x="7209421" y="2905025"/>
              <a:ext cx="31739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ales</a:t>
              </a:r>
            </a:p>
          </p:txBody>
        </p: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E6D07950-E8C3-48B1-AD49-71301C8EFCA6}"/>
                </a:ext>
              </a:extLst>
            </p:cNvPr>
            <p:cNvGrpSpPr/>
            <p:nvPr/>
          </p:nvGrpSpPr>
          <p:grpSpPr>
            <a:xfrm>
              <a:off x="7134548" y="2550803"/>
              <a:ext cx="348895" cy="321673"/>
              <a:chOff x="8279797" y="1415693"/>
              <a:chExt cx="223838" cy="206375"/>
            </a:xfrm>
            <a:solidFill>
              <a:schemeClr val="bg1"/>
            </a:solidFill>
          </p:grpSpPr>
          <p:sp>
            <p:nvSpPr>
              <p:cNvPr id="174" name="Freeform 170">
                <a:extLst>
                  <a:ext uri="{FF2B5EF4-FFF2-40B4-BE49-F238E27FC236}">
                    <a16:creationId xmlns:a16="http://schemas.microsoft.com/office/drawing/2014/main" id="{C79D1221-B022-415A-84EA-6B526EA3C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3772" y="1441093"/>
                <a:ext cx="169863" cy="180975"/>
              </a:xfrm>
              <a:custGeom>
                <a:avLst/>
                <a:gdLst>
                  <a:gd name="T0" fmla="*/ 80 w 172"/>
                  <a:gd name="T1" fmla="*/ 183 h 183"/>
                  <a:gd name="T2" fmla="*/ 80 w 172"/>
                  <a:gd name="T3" fmla="*/ 183 h 183"/>
                  <a:gd name="T4" fmla="*/ 172 w 172"/>
                  <a:gd name="T5" fmla="*/ 91 h 183"/>
                  <a:gd name="T6" fmla="*/ 98 w 172"/>
                  <a:gd name="T7" fmla="*/ 0 h 183"/>
                  <a:gd name="T8" fmla="*/ 80 w 172"/>
                  <a:gd name="T9" fmla="*/ 91 h 183"/>
                  <a:gd name="T10" fmla="*/ 0 w 172"/>
                  <a:gd name="T11" fmla="*/ 136 h 183"/>
                  <a:gd name="T12" fmla="*/ 80 w 172"/>
                  <a:gd name="T13" fmla="*/ 18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83">
                    <a:moveTo>
                      <a:pt x="80" y="183"/>
                    </a:moveTo>
                    <a:lnTo>
                      <a:pt x="80" y="183"/>
                    </a:lnTo>
                    <a:cubicBezTo>
                      <a:pt x="131" y="183"/>
                      <a:pt x="172" y="142"/>
                      <a:pt x="172" y="91"/>
                    </a:cubicBezTo>
                    <a:cubicBezTo>
                      <a:pt x="172" y="46"/>
                      <a:pt x="140" y="9"/>
                      <a:pt x="98" y="0"/>
                    </a:cubicBezTo>
                    <a:lnTo>
                      <a:pt x="80" y="91"/>
                    </a:lnTo>
                    <a:lnTo>
                      <a:pt x="0" y="136"/>
                    </a:lnTo>
                    <a:cubicBezTo>
                      <a:pt x="16" y="164"/>
                      <a:pt x="46" y="183"/>
                      <a:pt x="80" y="18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Freeform 171">
                <a:extLst>
                  <a:ext uri="{FF2B5EF4-FFF2-40B4-BE49-F238E27FC236}">
                    <a16:creationId xmlns:a16="http://schemas.microsoft.com/office/drawing/2014/main" id="{A51A8B61-947C-496B-AAD8-19A823B12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797" y="1514118"/>
                <a:ext cx="90488" cy="55563"/>
              </a:xfrm>
              <a:custGeom>
                <a:avLst/>
                <a:gdLst>
                  <a:gd name="T0" fmla="*/ 92 w 92"/>
                  <a:gd name="T1" fmla="*/ 12 h 56"/>
                  <a:gd name="T2" fmla="*/ 92 w 92"/>
                  <a:gd name="T3" fmla="*/ 12 h 56"/>
                  <a:gd name="T4" fmla="*/ 0 w 92"/>
                  <a:gd name="T5" fmla="*/ 0 h 56"/>
                  <a:gd name="T6" fmla="*/ 0 w 92"/>
                  <a:gd name="T7" fmla="*/ 7 h 56"/>
                  <a:gd name="T8" fmla="*/ 14 w 92"/>
                  <a:gd name="T9" fmla="*/ 56 h 56"/>
                  <a:gd name="T10" fmla="*/ 92 w 92"/>
                  <a:gd name="T11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" h="56">
                    <a:moveTo>
                      <a:pt x="92" y="12"/>
                    </a:moveTo>
                    <a:lnTo>
                      <a:pt x="92" y="12"/>
                    </a:lnTo>
                    <a:lnTo>
                      <a:pt x="0" y="0"/>
                    </a:lnTo>
                    <a:cubicBezTo>
                      <a:pt x="0" y="2"/>
                      <a:pt x="0" y="5"/>
                      <a:pt x="0" y="7"/>
                    </a:cubicBezTo>
                    <a:cubicBezTo>
                      <a:pt x="0" y="25"/>
                      <a:pt x="5" y="42"/>
                      <a:pt x="14" y="56"/>
                    </a:cubicBezTo>
                    <a:lnTo>
                      <a:pt x="92" y="1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Freeform 172">
                <a:extLst>
                  <a:ext uri="{FF2B5EF4-FFF2-40B4-BE49-F238E27FC236}">
                    <a16:creationId xmlns:a16="http://schemas.microsoft.com/office/drawing/2014/main" id="{9D489E9C-D608-4555-A4B4-926037C2A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7259" y="1415693"/>
                <a:ext cx="111125" cy="92075"/>
              </a:xfrm>
              <a:custGeom>
                <a:avLst/>
                <a:gdLst>
                  <a:gd name="T0" fmla="*/ 113 w 113"/>
                  <a:gd name="T1" fmla="*/ 3 h 93"/>
                  <a:gd name="T2" fmla="*/ 113 w 113"/>
                  <a:gd name="T3" fmla="*/ 3 h 93"/>
                  <a:gd name="T4" fmla="*/ 92 w 113"/>
                  <a:gd name="T5" fmla="*/ 0 h 93"/>
                  <a:gd name="T6" fmla="*/ 0 w 113"/>
                  <a:gd name="T7" fmla="*/ 81 h 93"/>
                  <a:gd name="T8" fmla="*/ 95 w 113"/>
                  <a:gd name="T9" fmla="*/ 93 h 93"/>
                  <a:gd name="T10" fmla="*/ 113 w 113"/>
                  <a:gd name="T11" fmla="*/ 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3" h="93">
                    <a:moveTo>
                      <a:pt x="113" y="3"/>
                    </a:moveTo>
                    <a:lnTo>
                      <a:pt x="113" y="3"/>
                    </a:lnTo>
                    <a:cubicBezTo>
                      <a:pt x="106" y="1"/>
                      <a:pt x="99" y="0"/>
                      <a:pt x="92" y="0"/>
                    </a:cubicBezTo>
                    <a:cubicBezTo>
                      <a:pt x="45" y="0"/>
                      <a:pt x="6" y="35"/>
                      <a:pt x="0" y="81"/>
                    </a:cubicBezTo>
                    <a:lnTo>
                      <a:pt x="95" y="93"/>
                    </a:lnTo>
                    <a:lnTo>
                      <a:pt x="113" y="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9AF8A2C7-1842-49C6-98FF-5B797C430603}"/>
              </a:ext>
            </a:extLst>
          </p:cNvPr>
          <p:cNvGrpSpPr/>
          <p:nvPr/>
        </p:nvGrpSpPr>
        <p:grpSpPr>
          <a:xfrm>
            <a:off x="6878862" y="3617580"/>
            <a:ext cx="691150" cy="610365"/>
            <a:chOff x="6878862" y="3617580"/>
            <a:chExt cx="691150" cy="610365"/>
          </a:xfrm>
        </p:grpSpPr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A89FA668-3655-44CA-9608-C2C61BBFE649}"/>
                </a:ext>
              </a:extLst>
            </p:cNvPr>
            <p:cNvSpPr txBox="1"/>
            <p:nvPr/>
          </p:nvSpPr>
          <p:spPr>
            <a:xfrm>
              <a:off x="6878862" y="4043279"/>
              <a:ext cx="69115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perations</a:t>
              </a:r>
            </a:p>
          </p:txBody>
        </p: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4B46EA90-A6B0-4B1E-AB3A-6FCE721B7FAF}"/>
                </a:ext>
              </a:extLst>
            </p:cNvPr>
            <p:cNvGrpSpPr/>
            <p:nvPr/>
          </p:nvGrpSpPr>
          <p:grpSpPr>
            <a:xfrm>
              <a:off x="7136696" y="3617580"/>
              <a:ext cx="398852" cy="398851"/>
              <a:chOff x="3120656" y="3158274"/>
              <a:chExt cx="541454" cy="541454"/>
            </a:xfrm>
            <a:solidFill>
              <a:schemeClr val="bg1"/>
            </a:solidFill>
          </p:grpSpPr>
          <p:sp>
            <p:nvSpPr>
              <p:cNvPr id="180" name="Freeform 969">
                <a:extLst>
                  <a:ext uri="{FF2B5EF4-FFF2-40B4-BE49-F238E27FC236}">
                    <a16:creationId xmlns:a16="http://schemas.microsoft.com/office/drawing/2014/main" id="{5CB89038-E7D2-4C91-B23F-7EFD3D8CD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7308" y="3158274"/>
                <a:ext cx="254802" cy="254802"/>
              </a:xfrm>
              <a:custGeom>
                <a:avLst/>
                <a:gdLst>
                  <a:gd name="T0" fmla="*/ 55 w 60"/>
                  <a:gd name="T1" fmla="*/ 24 h 60"/>
                  <a:gd name="T2" fmla="*/ 52 w 60"/>
                  <a:gd name="T3" fmla="*/ 17 h 60"/>
                  <a:gd name="T4" fmla="*/ 54 w 60"/>
                  <a:gd name="T5" fmla="*/ 12 h 60"/>
                  <a:gd name="T6" fmla="*/ 48 w 60"/>
                  <a:gd name="T7" fmla="*/ 6 h 60"/>
                  <a:gd name="T8" fmla="*/ 43 w 60"/>
                  <a:gd name="T9" fmla="*/ 8 h 60"/>
                  <a:gd name="T10" fmla="*/ 36 w 60"/>
                  <a:gd name="T11" fmla="*/ 5 h 60"/>
                  <a:gd name="T12" fmla="*/ 34 w 60"/>
                  <a:gd name="T13" fmla="*/ 0 h 60"/>
                  <a:gd name="T14" fmla="*/ 26 w 60"/>
                  <a:gd name="T15" fmla="*/ 0 h 60"/>
                  <a:gd name="T16" fmla="*/ 24 w 60"/>
                  <a:gd name="T17" fmla="*/ 5 h 60"/>
                  <a:gd name="T18" fmla="*/ 17 w 60"/>
                  <a:gd name="T19" fmla="*/ 8 h 60"/>
                  <a:gd name="T20" fmla="*/ 12 w 60"/>
                  <a:gd name="T21" fmla="*/ 6 h 60"/>
                  <a:gd name="T22" fmla="*/ 6 w 60"/>
                  <a:gd name="T23" fmla="*/ 12 h 60"/>
                  <a:gd name="T24" fmla="*/ 8 w 60"/>
                  <a:gd name="T25" fmla="*/ 17 h 60"/>
                  <a:gd name="T26" fmla="*/ 5 w 60"/>
                  <a:gd name="T27" fmla="*/ 24 h 60"/>
                  <a:gd name="T28" fmla="*/ 0 w 60"/>
                  <a:gd name="T29" fmla="*/ 26 h 60"/>
                  <a:gd name="T30" fmla="*/ 0 w 60"/>
                  <a:gd name="T31" fmla="*/ 34 h 60"/>
                  <a:gd name="T32" fmla="*/ 5 w 60"/>
                  <a:gd name="T33" fmla="*/ 36 h 60"/>
                  <a:gd name="T34" fmla="*/ 8 w 60"/>
                  <a:gd name="T35" fmla="*/ 43 h 60"/>
                  <a:gd name="T36" fmla="*/ 6 w 60"/>
                  <a:gd name="T37" fmla="*/ 48 h 60"/>
                  <a:gd name="T38" fmla="*/ 12 w 60"/>
                  <a:gd name="T39" fmla="*/ 54 h 60"/>
                  <a:gd name="T40" fmla="*/ 17 w 60"/>
                  <a:gd name="T41" fmla="*/ 52 h 60"/>
                  <a:gd name="T42" fmla="*/ 24 w 60"/>
                  <a:gd name="T43" fmla="*/ 55 h 60"/>
                  <a:gd name="T44" fmla="*/ 26 w 60"/>
                  <a:gd name="T45" fmla="*/ 60 h 60"/>
                  <a:gd name="T46" fmla="*/ 34 w 60"/>
                  <a:gd name="T47" fmla="*/ 60 h 60"/>
                  <a:gd name="T48" fmla="*/ 36 w 60"/>
                  <a:gd name="T49" fmla="*/ 55 h 60"/>
                  <a:gd name="T50" fmla="*/ 43 w 60"/>
                  <a:gd name="T51" fmla="*/ 52 h 60"/>
                  <a:gd name="T52" fmla="*/ 48 w 60"/>
                  <a:gd name="T53" fmla="*/ 54 h 60"/>
                  <a:gd name="T54" fmla="*/ 54 w 60"/>
                  <a:gd name="T55" fmla="*/ 48 h 60"/>
                  <a:gd name="T56" fmla="*/ 52 w 60"/>
                  <a:gd name="T57" fmla="*/ 43 h 60"/>
                  <a:gd name="T58" fmla="*/ 55 w 60"/>
                  <a:gd name="T59" fmla="*/ 36 h 60"/>
                  <a:gd name="T60" fmla="*/ 60 w 60"/>
                  <a:gd name="T61" fmla="*/ 34 h 60"/>
                  <a:gd name="T62" fmla="*/ 60 w 60"/>
                  <a:gd name="T63" fmla="*/ 26 h 60"/>
                  <a:gd name="T64" fmla="*/ 55 w 60"/>
                  <a:gd name="T65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0" h="60">
                    <a:moveTo>
                      <a:pt x="55" y="24"/>
                    </a:moveTo>
                    <a:cubicBezTo>
                      <a:pt x="54" y="21"/>
                      <a:pt x="53" y="19"/>
                      <a:pt x="52" y="17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1" y="7"/>
                      <a:pt x="39" y="6"/>
                      <a:pt x="36" y="5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1" y="6"/>
                      <a:pt x="19" y="7"/>
                      <a:pt x="17" y="8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6" y="21"/>
                      <a:pt x="5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6" y="39"/>
                      <a:pt x="7" y="41"/>
                      <a:pt x="8" y="43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19" y="53"/>
                      <a:pt x="21" y="54"/>
                      <a:pt x="24" y="55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39" y="54"/>
                      <a:pt x="41" y="53"/>
                      <a:pt x="43" y="52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3" y="41"/>
                      <a:pt x="54" y="39"/>
                      <a:pt x="55" y="36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26"/>
                      <a:pt x="60" y="26"/>
                      <a:pt x="60" y="26"/>
                    </a:cubicBezTo>
                    <a:lnTo>
                      <a:pt x="55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Freeform 1042">
                <a:extLst>
                  <a:ext uri="{FF2B5EF4-FFF2-40B4-BE49-F238E27FC236}">
                    <a16:creationId xmlns:a16="http://schemas.microsoft.com/office/drawing/2014/main" id="{D7C7E32F-DBC2-4A36-9D06-5B5AB2D53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625" y="3237898"/>
                <a:ext cx="111478" cy="95551"/>
              </a:xfrm>
              <a:custGeom>
                <a:avLst/>
                <a:gdLst>
                  <a:gd name="T0" fmla="*/ 21 w 21"/>
                  <a:gd name="T1" fmla="*/ 5 h 18"/>
                  <a:gd name="T2" fmla="*/ 16 w 21"/>
                  <a:gd name="T3" fmla="*/ 0 h 18"/>
                  <a:gd name="T4" fmla="*/ 8 w 21"/>
                  <a:gd name="T5" fmla="*/ 8 h 18"/>
                  <a:gd name="T6" fmla="*/ 5 w 21"/>
                  <a:gd name="T7" fmla="*/ 5 h 18"/>
                  <a:gd name="T8" fmla="*/ 0 w 21"/>
                  <a:gd name="T9" fmla="*/ 10 h 18"/>
                  <a:gd name="T10" fmla="*/ 8 w 21"/>
                  <a:gd name="T11" fmla="*/ 18 h 18"/>
                  <a:gd name="T12" fmla="*/ 8 w 21"/>
                  <a:gd name="T13" fmla="*/ 18 h 18"/>
                  <a:gd name="T14" fmla="*/ 8 w 21"/>
                  <a:gd name="T15" fmla="*/ 18 h 18"/>
                  <a:gd name="T16" fmla="*/ 21 w 21"/>
                  <a:gd name="T17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8">
                    <a:moveTo>
                      <a:pt x="21" y="5"/>
                    </a:moveTo>
                    <a:lnTo>
                      <a:pt x="16" y="0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1" y="5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Freeform 1054">
                <a:extLst>
                  <a:ext uri="{FF2B5EF4-FFF2-40B4-BE49-F238E27FC236}">
                    <a16:creationId xmlns:a16="http://schemas.microsoft.com/office/drawing/2014/main" id="{9FB25D39-219C-46F2-8372-62EAAB2E58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0656" y="3359992"/>
                <a:ext cx="339736" cy="339736"/>
              </a:xfrm>
              <a:custGeom>
                <a:avLst/>
                <a:gdLst>
                  <a:gd name="T0" fmla="*/ 73 w 80"/>
                  <a:gd name="T1" fmla="*/ 46 h 80"/>
                  <a:gd name="T2" fmla="*/ 73 w 80"/>
                  <a:gd name="T3" fmla="*/ 33 h 80"/>
                  <a:gd name="T4" fmla="*/ 80 w 80"/>
                  <a:gd name="T5" fmla="*/ 28 h 80"/>
                  <a:gd name="T6" fmla="*/ 77 w 80"/>
                  <a:gd name="T7" fmla="*/ 20 h 80"/>
                  <a:gd name="T8" fmla="*/ 68 w 80"/>
                  <a:gd name="T9" fmla="*/ 21 h 80"/>
                  <a:gd name="T10" fmla="*/ 59 w 80"/>
                  <a:gd name="T11" fmla="*/ 12 h 80"/>
                  <a:gd name="T12" fmla="*/ 60 w 80"/>
                  <a:gd name="T13" fmla="*/ 3 h 80"/>
                  <a:gd name="T14" fmla="*/ 52 w 80"/>
                  <a:gd name="T15" fmla="*/ 0 h 80"/>
                  <a:gd name="T16" fmla="*/ 47 w 80"/>
                  <a:gd name="T17" fmla="*/ 7 h 80"/>
                  <a:gd name="T18" fmla="*/ 33 w 80"/>
                  <a:gd name="T19" fmla="*/ 7 h 80"/>
                  <a:gd name="T20" fmla="*/ 28 w 80"/>
                  <a:gd name="T21" fmla="*/ 0 h 80"/>
                  <a:gd name="T22" fmla="*/ 20 w 80"/>
                  <a:gd name="T23" fmla="*/ 3 h 80"/>
                  <a:gd name="T24" fmla="*/ 22 w 80"/>
                  <a:gd name="T25" fmla="*/ 12 h 80"/>
                  <a:gd name="T26" fmla="*/ 12 w 80"/>
                  <a:gd name="T27" fmla="*/ 21 h 80"/>
                  <a:gd name="T28" fmla="*/ 3 w 80"/>
                  <a:gd name="T29" fmla="*/ 20 h 80"/>
                  <a:gd name="T30" fmla="*/ 0 w 80"/>
                  <a:gd name="T31" fmla="*/ 28 h 80"/>
                  <a:gd name="T32" fmla="*/ 7 w 80"/>
                  <a:gd name="T33" fmla="*/ 33 h 80"/>
                  <a:gd name="T34" fmla="*/ 7 w 80"/>
                  <a:gd name="T35" fmla="*/ 47 h 80"/>
                  <a:gd name="T36" fmla="*/ 0 w 80"/>
                  <a:gd name="T37" fmla="*/ 52 h 80"/>
                  <a:gd name="T38" fmla="*/ 3 w 80"/>
                  <a:gd name="T39" fmla="*/ 60 h 80"/>
                  <a:gd name="T40" fmla="*/ 12 w 80"/>
                  <a:gd name="T41" fmla="*/ 58 h 80"/>
                  <a:gd name="T42" fmla="*/ 22 w 80"/>
                  <a:gd name="T43" fmla="*/ 68 h 80"/>
                  <a:gd name="T44" fmla="*/ 20 w 80"/>
                  <a:gd name="T45" fmla="*/ 77 h 80"/>
                  <a:gd name="T46" fmla="*/ 28 w 80"/>
                  <a:gd name="T47" fmla="*/ 80 h 80"/>
                  <a:gd name="T48" fmla="*/ 34 w 80"/>
                  <a:gd name="T49" fmla="*/ 73 h 80"/>
                  <a:gd name="T50" fmla="*/ 47 w 80"/>
                  <a:gd name="T51" fmla="*/ 73 h 80"/>
                  <a:gd name="T52" fmla="*/ 52 w 80"/>
                  <a:gd name="T53" fmla="*/ 80 h 80"/>
                  <a:gd name="T54" fmla="*/ 60 w 80"/>
                  <a:gd name="T55" fmla="*/ 77 h 80"/>
                  <a:gd name="T56" fmla="*/ 59 w 80"/>
                  <a:gd name="T57" fmla="*/ 68 h 80"/>
                  <a:gd name="T58" fmla="*/ 68 w 80"/>
                  <a:gd name="T59" fmla="*/ 58 h 80"/>
                  <a:gd name="T60" fmla="*/ 77 w 80"/>
                  <a:gd name="T61" fmla="*/ 60 h 80"/>
                  <a:gd name="T62" fmla="*/ 80 w 80"/>
                  <a:gd name="T63" fmla="*/ 52 h 80"/>
                  <a:gd name="T64" fmla="*/ 73 w 80"/>
                  <a:gd name="T65" fmla="*/ 46 h 80"/>
                  <a:gd name="T66" fmla="*/ 32 w 80"/>
                  <a:gd name="T67" fmla="*/ 59 h 80"/>
                  <a:gd name="T68" fmla="*/ 21 w 80"/>
                  <a:gd name="T69" fmla="*/ 32 h 80"/>
                  <a:gd name="T70" fmla="*/ 48 w 80"/>
                  <a:gd name="T71" fmla="*/ 21 h 80"/>
                  <a:gd name="T72" fmla="*/ 59 w 80"/>
                  <a:gd name="T73" fmla="*/ 48 h 80"/>
                  <a:gd name="T74" fmla="*/ 32 w 80"/>
                  <a:gd name="T75" fmla="*/ 5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73" y="46"/>
                    </a:moveTo>
                    <a:cubicBezTo>
                      <a:pt x="74" y="42"/>
                      <a:pt x="74" y="37"/>
                      <a:pt x="73" y="33"/>
                    </a:cubicBezTo>
                    <a:cubicBezTo>
                      <a:pt x="80" y="28"/>
                      <a:pt x="80" y="28"/>
                      <a:pt x="80" y="28"/>
                    </a:cubicBezTo>
                    <a:cubicBezTo>
                      <a:pt x="77" y="20"/>
                      <a:pt x="77" y="20"/>
                      <a:pt x="77" y="20"/>
                    </a:cubicBezTo>
                    <a:cubicBezTo>
                      <a:pt x="68" y="21"/>
                      <a:pt x="68" y="21"/>
                      <a:pt x="68" y="21"/>
                    </a:cubicBezTo>
                    <a:cubicBezTo>
                      <a:pt x="66" y="18"/>
                      <a:pt x="62" y="14"/>
                      <a:pt x="59" y="12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42" y="6"/>
                      <a:pt x="38" y="6"/>
                      <a:pt x="33" y="7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18" y="14"/>
                      <a:pt x="15" y="18"/>
                      <a:pt x="12" y="2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8"/>
                      <a:pt x="7" y="42"/>
                      <a:pt x="7" y="47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5" y="62"/>
                      <a:pt x="18" y="65"/>
                      <a:pt x="22" y="68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34" y="73"/>
                      <a:pt x="34" y="73"/>
                      <a:pt x="34" y="73"/>
                    </a:cubicBezTo>
                    <a:cubicBezTo>
                      <a:pt x="38" y="73"/>
                      <a:pt x="43" y="73"/>
                      <a:pt x="47" y="73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59" y="68"/>
                      <a:pt x="59" y="68"/>
                      <a:pt x="59" y="68"/>
                    </a:cubicBezTo>
                    <a:cubicBezTo>
                      <a:pt x="62" y="65"/>
                      <a:pt x="66" y="62"/>
                      <a:pt x="68" y="58"/>
                    </a:cubicBezTo>
                    <a:cubicBezTo>
                      <a:pt x="77" y="60"/>
                      <a:pt x="77" y="60"/>
                      <a:pt x="77" y="60"/>
                    </a:cubicBezTo>
                    <a:cubicBezTo>
                      <a:pt x="80" y="52"/>
                      <a:pt x="80" y="52"/>
                      <a:pt x="80" y="52"/>
                    </a:cubicBezTo>
                    <a:lnTo>
                      <a:pt x="73" y="46"/>
                    </a:lnTo>
                    <a:close/>
                    <a:moveTo>
                      <a:pt x="32" y="59"/>
                    </a:moveTo>
                    <a:cubicBezTo>
                      <a:pt x="22" y="55"/>
                      <a:pt x="16" y="43"/>
                      <a:pt x="21" y="32"/>
                    </a:cubicBezTo>
                    <a:cubicBezTo>
                      <a:pt x="25" y="21"/>
                      <a:pt x="37" y="16"/>
                      <a:pt x="48" y="21"/>
                    </a:cubicBezTo>
                    <a:cubicBezTo>
                      <a:pt x="59" y="25"/>
                      <a:pt x="64" y="37"/>
                      <a:pt x="59" y="48"/>
                    </a:cubicBezTo>
                    <a:cubicBezTo>
                      <a:pt x="55" y="58"/>
                      <a:pt x="43" y="64"/>
                      <a:pt x="3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6275D460-C465-45AD-837B-DE409F2D29AD}"/>
              </a:ext>
            </a:extLst>
          </p:cNvPr>
          <p:cNvGrpSpPr/>
          <p:nvPr/>
        </p:nvGrpSpPr>
        <p:grpSpPr>
          <a:xfrm>
            <a:off x="5834755" y="4510805"/>
            <a:ext cx="482504" cy="581047"/>
            <a:chOff x="5834755" y="4510805"/>
            <a:chExt cx="482504" cy="581047"/>
          </a:xfrm>
        </p:grpSpPr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0B6B4D58-926C-43E5-93E3-16A29E2B83FD}"/>
                </a:ext>
              </a:extLst>
            </p:cNvPr>
            <p:cNvSpPr txBox="1"/>
            <p:nvPr/>
          </p:nvSpPr>
          <p:spPr>
            <a:xfrm>
              <a:off x="5834755" y="4510805"/>
              <a:ext cx="48250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nance</a:t>
              </a:r>
            </a:p>
          </p:txBody>
        </p:sp>
        <p:grpSp>
          <p:nvGrpSpPr>
            <p:cNvPr id="185" name="Group 194">
              <a:extLst>
                <a:ext uri="{FF2B5EF4-FFF2-40B4-BE49-F238E27FC236}">
                  <a16:creationId xmlns:a16="http://schemas.microsoft.com/office/drawing/2014/main" id="{61FE4DA1-620A-48F3-9317-DDD42447DEE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79016" y="4783033"/>
              <a:ext cx="356219" cy="308819"/>
              <a:chOff x="3290" y="3375"/>
              <a:chExt cx="248" cy="215"/>
            </a:xfrm>
            <a:solidFill>
              <a:schemeClr val="bg1"/>
            </a:solidFill>
          </p:grpSpPr>
          <p:sp>
            <p:nvSpPr>
              <p:cNvPr id="186" name="Freeform 195">
                <a:extLst>
                  <a:ext uri="{FF2B5EF4-FFF2-40B4-BE49-F238E27FC236}">
                    <a16:creationId xmlns:a16="http://schemas.microsoft.com/office/drawing/2014/main" id="{4C8C7AA3-D2A9-460F-A06B-D7822B136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3507"/>
                <a:ext cx="50" cy="83"/>
              </a:xfrm>
              <a:custGeom>
                <a:avLst/>
                <a:gdLst>
                  <a:gd name="T0" fmla="*/ 0 w 80"/>
                  <a:gd name="T1" fmla="*/ 134 h 134"/>
                  <a:gd name="T2" fmla="*/ 0 w 80"/>
                  <a:gd name="T3" fmla="*/ 134 h 134"/>
                  <a:gd name="T4" fmla="*/ 80 w 80"/>
                  <a:gd name="T5" fmla="*/ 134 h 134"/>
                  <a:gd name="T6" fmla="*/ 80 w 80"/>
                  <a:gd name="T7" fmla="*/ 0 h 134"/>
                  <a:gd name="T8" fmla="*/ 0 w 80"/>
                  <a:gd name="T9" fmla="*/ 0 h 134"/>
                  <a:gd name="T10" fmla="*/ 0 w 80"/>
                  <a:gd name="T11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34">
                    <a:moveTo>
                      <a:pt x="0" y="134"/>
                    </a:moveTo>
                    <a:lnTo>
                      <a:pt x="0" y="134"/>
                    </a:lnTo>
                    <a:lnTo>
                      <a:pt x="80" y="134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13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Freeform 196">
                <a:extLst>
                  <a:ext uri="{FF2B5EF4-FFF2-40B4-BE49-F238E27FC236}">
                    <a16:creationId xmlns:a16="http://schemas.microsoft.com/office/drawing/2014/main" id="{73241C09-E6CA-401F-8A9F-481D8998C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6" y="3441"/>
                <a:ext cx="50" cy="149"/>
              </a:xfrm>
              <a:custGeom>
                <a:avLst/>
                <a:gdLst>
                  <a:gd name="T0" fmla="*/ 0 w 80"/>
                  <a:gd name="T1" fmla="*/ 240 h 240"/>
                  <a:gd name="T2" fmla="*/ 0 w 80"/>
                  <a:gd name="T3" fmla="*/ 240 h 240"/>
                  <a:gd name="T4" fmla="*/ 80 w 80"/>
                  <a:gd name="T5" fmla="*/ 240 h 240"/>
                  <a:gd name="T6" fmla="*/ 80 w 80"/>
                  <a:gd name="T7" fmla="*/ 0 h 240"/>
                  <a:gd name="T8" fmla="*/ 0 w 80"/>
                  <a:gd name="T9" fmla="*/ 0 h 240"/>
                  <a:gd name="T10" fmla="*/ 0 w 8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240">
                    <a:moveTo>
                      <a:pt x="0" y="240"/>
                    </a:moveTo>
                    <a:lnTo>
                      <a:pt x="0" y="240"/>
                    </a:lnTo>
                    <a:lnTo>
                      <a:pt x="80" y="24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24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Freeform 197">
                <a:extLst>
                  <a:ext uri="{FF2B5EF4-FFF2-40B4-BE49-F238E27FC236}">
                    <a16:creationId xmlns:a16="http://schemas.microsoft.com/office/drawing/2014/main" id="{1966EA4A-2FBD-4F97-AAB8-E64EDB53F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3441"/>
                <a:ext cx="49" cy="149"/>
              </a:xfrm>
              <a:custGeom>
                <a:avLst/>
                <a:gdLst>
                  <a:gd name="T0" fmla="*/ 0 w 80"/>
                  <a:gd name="T1" fmla="*/ 240 h 240"/>
                  <a:gd name="T2" fmla="*/ 0 w 80"/>
                  <a:gd name="T3" fmla="*/ 240 h 240"/>
                  <a:gd name="T4" fmla="*/ 80 w 80"/>
                  <a:gd name="T5" fmla="*/ 240 h 240"/>
                  <a:gd name="T6" fmla="*/ 80 w 80"/>
                  <a:gd name="T7" fmla="*/ 0 h 240"/>
                  <a:gd name="T8" fmla="*/ 0 w 80"/>
                  <a:gd name="T9" fmla="*/ 0 h 240"/>
                  <a:gd name="T10" fmla="*/ 0 w 8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240">
                    <a:moveTo>
                      <a:pt x="0" y="240"/>
                    </a:moveTo>
                    <a:lnTo>
                      <a:pt x="0" y="240"/>
                    </a:lnTo>
                    <a:lnTo>
                      <a:pt x="80" y="24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24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Freeform 198">
                <a:extLst>
                  <a:ext uri="{FF2B5EF4-FFF2-40B4-BE49-F238E27FC236}">
                    <a16:creationId xmlns:a16="http://schemas.microsoft.com/office/drawing/2014/main" id="{3713FB1F-9D77-4D97-B6F0-36BE14587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2" y="3375"/>
                <a:ext cx="50" cy="215"/>
              </a:xfrm>
              <a:custGeom>
                <a:avLst/>
                <a:gdLst>
                  <a:gd name="T0" fmla="*/ 0 w 80"/>
                  <a:gd name="T1" fmla="*/ 347 h 347"/>
                  <a:gd name="T2" fmla="*/ 0 w 80"/>
                  <a:gd name="T3" fmla="*/ 347 h 347"/>
                  <a:gd name="T4" fmla="*/ 80 w 80"/>
                  <a:gd name="T5" fmla="*/ 347 h 347"/>
                  <a:gd name="T6" fmla="*/ 80 w 80"/>
                  <a:gd name="T7" fmla="*/ 0 h 347"/>
                  <a:gd name="T8" fmla="*/ 0 w 80"/>
                  <a:gd name="T9" fmla="*/ 0 h 347"/>
                  <a:gd name="T10" fmla="*/ 0 w 80"/>
                  <a:gd name="T11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47">
                    <a:moveTo>
                      <a:pt x="0" y="347"/>
                    </a:moveTo>
                    <a:lnTo>
                      <a:pt x="0" y="347"/>
                    </a:lnTo>
                    <a:lnTo>
                      <a:pt x="80" y="347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34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8EDAECE5-7A9A-4BDB-91D4-42025ABEE67E}"/>
              </a:ext>
            </a:extLst>
          </p:cNvPr>
          <p:cNvGrpSpPr/>
          <p:nvPr/>
        </p:nvGrpSpPr>
        <p:grpSpPr>
          <a:xfrm>
            <a:off x="4578865" y="3676233"/>
            <a:ext cx="477888" cy="551712"/>
            <a:chOff x="4578865" y="3676233"/>
            <a:chExt cx="477888" cy="551712"/>
          </a:xfrm>
        </p:grpSpPr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706BE16F-4C87-4499-A7D1-84DB78412C11}"/>
                </a:ext>
              </a:extLst>
            </p:cNvPr>
            <p:cNvSpPr txBox="1"/>
            <p:nvPr/>
          </p:nvSpPr>
          <p:spPr>
            <a:xfrm>
              <a:off x="4578865" y="4043279"/>
              <a:ext cx="47788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</a:t>
              </a:r>
            </a:p>
          </p:txBody>
        </p:sp>
        <p:grpSp>
          <p:nvGrpSpPr>
            <p:cNvPr id="192" name="Group 231">
              <a:extLst>
                <a:ext uri="{FF2B5EF4-FFF2-40B4-BE49-F238E27FC236}">
                  <a16:creationId xmlns:a16="http://schemas.microsoft.com/office/drawing/2014/main" id="{AF2D5C37-842C-4764-90A3-746C7EDCC43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618146" y="3676233"/>
              <a:ext cx="399326" cy="310588"/>
              <a:chOff x="5041" y="2779"/>
              <a:chExt cx="207" cy="161"/>
            </a:xfrm>
            <a:solidFill>
              <a:schemeClr val="bg1"/>
            </a:solidFill>
          </p:grpSpPr>
          <p:sp>
            <p:nvSpPr>
              <p:cNvPr id="193" name="Freeform 232">
                <a:extLst>
                  <a:ext uri="{FF2B5EF4-FFF2-40B4-BE49-F238E27FC236}">
                    <a16:creationId xmlns:a16="http://schemas.microsoft.com/office/drawing/2014/main" id="{DF96C921-C246-4F1F-B3F1-4A24EB238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" y="2821"/>
                <a:ext cx="58" cy="32"/>
              </a:xfrm>
              <a:custGeom>
                <a:avLst/>
                <a:gdLst>
                  <a:gd name="T0" fmla="*/ 93 w 93"/>
                  <a:gd name="T1" fmla="*/ 51 h 51"/>
                  <a:gd name="T2" fmla="*/ 93 w 93"/>
                  <a:gd name="T3" fmla="*/ 51 h 51"/>
                  <a:gd name="T4" fmla="*/ 93 w 93"/>
                  <a:gd name="T5" fmla="*/ 19 h 51"/>
                  <a:gd name="T6" fmla="*/ 91 w 93"/>
                  <a:gd name="T7" fmla="*/ 12 h 51"/>
                  <a:gd name="T8" fmla="*/ 87 w 93"/>
                  <a:gd name="T9" fmla="*/ 6 h 51"/>
                  <a:gd name="T10" fmla="*/ 81 w 93"/>
                  <a:gd name="T11" fmla="*/ 2 h 51"/>
                  <a:gd name="T12" fmla="*/ 74 w 93"/>
                  <a:gd name="T13" fmla="*/ 0 h 51"/>
                  <a:gd name="T14" fmla="*/ 18 w 93"/>
                  <a:gd name="T15" fmla="*/ 0 h 51"/>
                  <a:gd name="T16" fmla="*/ 11 w 93"/>
                  <a:gd name="T17" fmla="*/ 2 h 51"/>
                  <a:gd name="T18" fmla="*/ 6 w 93"/>
                  <a:gd name="T19" fmla="*/ 6 h 51"/>
                  <a:gd name="T20" fmla="*/ 1 w 93"/>
                  <a:gd name="T21" fmla="*/ 12 h 51"/>
                  <a:gd name="T22" fmla="*/ 0 w 93"/>
                  <a:gd name="T23" fmla="*/ 19 h 51"/>
                  <a:gd name="T24" fmla="*/ 0 w 93"/>
                  <a:gd name="T25" fmla="*/ 51 h 51"/>
                  <a:gd name="T26" fmla="*/ 48 w 93"/>
                  <a:gd name="T27" fmla="*/ 49 h 51"/>
                  <a:gd name="T28" fmla="*/ 93 w 93"/>
                  <a:gd name="T2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51">
                    <a:moveTo>
                      <a:pt x="93" y="51"/>
                    </a:moveTo>
                    <a:lnTo>
                      <a:pt x="93" y="51"/>
                    </a:lnTo>
                    <a:lnTo>
                      <a:pt x="93" y="19"/>
                    </a:lnTo>
                    <a:cubicBezTo>
                      <a:pt x="93" y="17"/>
                      <a:pt x="92" y="14"/>
                      <a:pt x="91" y="12"/>
                    </a:cubicBezTo>
                    <a:cubicBezTo>
                      <a:pt x="90" y="10"/>
                      <a:pt x="89" y="8"/>
                      <a:pt x="87" y="6"/>
                    </a:cubicBezTo>
                    <a:cubicBezTo>
                      <a:pt x="85" y="4"/>
                      <a:pt x="83" y="3"/>
                      <a:pt x="81" y="2"/>
                    </a:cubicBezTo>
                    <a:cubicBezTo>
                      <a:pt x="78" y="1"/>
                      <a:pt x="76" y="0"/>
                      <a:pt x="74" y="0"/>
                    </a:cubicBezTo>
                    <a:lnTo>
                      <a:pt x="18" y="0"/>
                    </a:lnTo>
                    <a:cubicBezTo>
                      <a:pt x="16" y="0"/>
                      <a:pt x="14" y="1"/>
                      <a:pt x="11" y="2"/>
                    </a:cubicBezTo>
                    <a:cubicBezTo>
                      <a:pt x="9" y="3"/>
                      <a:pt x="7" y="4"/>
                      <a:pt x="6" y="6"/>
                    </a:cubicBezTo>
                    <a:cubicBezTo>
                      <a:pt x="4" y="8"/>
                      <a:pt x="2" y="10"/>
                      <a:pt x="1" y="12"/>
                    </a:cubicBezTo>
                    <a:cubicBezTo>
                      <a:pt x="0" y="14"/>
                      <a:pt x="0" y="17"/>
                      <a:pt x="0" y="19"/>
                    </a:cubicBezTo>
                    <a:lnTo>
                      <a:pt x="0" y="51"/>
                    </a:lnTo>
                    <a:cubicBezTo>
                      <a:pt x="16" y="49"/>
                      <a:pt x="32" y="49"/>
                      <a:pt x="48" y="49"/>
                    </a:cubicBezTo>
                    <a:cubicBezTo>
                      <a:pt x="63" y="49"/>
                      <a:pt x="78" y="49"/>
                      <a:pt x="93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233">
                <a:extLst>
                  <a:ext uri="{FF2B5EF4-FFF2-40B4-BE49-F238E27FC236}">
                    <a16:creationId xmlns:a16="http://schemas.microsoft.com/office/drawing/2014/main" id="{2AAF8B4A-16BC-4D24-99C0-BC03FBC57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779"/>
                <a:ext cx="34" cy="33"/>
              </a:xfrm>
              <a:custGeom>
                <a:avLst/>
                <a:gdLst>
                  <a:gd name="T0" fmla="*/ 27 w 54"/>
                  <a:gd name="T1" fmla="*/ 53 h 53"/>
                  <a:gd name="T2" fmla="*/ 27 w 54"/>
                  <a:gd name="T3" fmla="*/ 53 h 53"/>
                  <a:gd name="T4" fmla="*/ 54 w 54"/>
                  <a:gd name="T5" fmla="*/ 26 h 53"/>
                  <a:gd name="T6" fmla="*/ 27 w 54"/>
                  <a:gd name="T7" fmla="*/ 0 h 53"/>
                  <a:gd name="T8" fmla="*/ 0 w 54"/>
                  <a:gd name="T9" fmla="*/ 26 h 53"/>
                  <a:gd name="T10" fmla="*/ 27 w 54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3">
                    <a:moveTo>
                      <a:pt x="27" y="53"/>
                    </a:moveTo>
                    <a:lnTo>
                      <a:pt x="27" y="53"/>
                    </a:lnTo>
                    <a:cubicBezTo>
                      <a:pt x="42" y="53"/>
                      <a:pt x="54" y="41"/>
                      <a:pt x="54" y="26"/>
                    </a:cubicBezTo>
                    <a:cubicBezTo>
                      <a:pt x="54" y="11"/>
                      <a:pt x="42" y="0"/>
                      <a:pt x="27" y="0"/>
                    </a:cubicBezTo>
                    <a:cubicBezTo>
                      <a:pt x="12" y="0"/>
                      <a:pt x="0" y="11"/>
                      <a:pt x="0" y="26"/>
                    </a:cubicBezTo>
                    <a:cubicBezTo>
                      <a:pt x="0" y="41"/>
                      <a:pt x="12" y="53"/>
                      <a:pt x="27" y="5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Freeform 234">
                <a:extLst>
                  <a:ext uri="{FF2B5EF4-FFF2-40B4-BE49-F238E27FC236}">
                    <a16:creationId xmlns:a16="http://schemas.microsoft.com/office/drawing/2014/main" id="{B0A8A166-D88E-45C7-895E-49B75572A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2838"/>
                <a:ext cx="58" cy="39"/>
              </a:xfrm>
              <a:custGeom>
                <a:avLst/>
                <a:gdLst>
                  <a:gd name="T0" fmla="*/ 93 w 93"/>
                  <a:gd name="T1" fmla="*/ 18 h 63"/>
                  <a:gd name="T2" fmla="*/ 93 w 93"/>
                  <a:gd name="T3" fmla="*/ 18 h 63"/>
                  <a:gd name="T4" fmla="*/ 91 w 93"/>
                  <a:gd name="T5" fmla="*/ 12 h 63"/>
                  <a:gd name="T6" fmla="*/ 87 w 93"/>
                  <a:gd name="T7" fmla="*/ 6 h 63"/>
                  <a:gd name="T8" fmla="*/ 81 w 93"/>
                  <a:gd name="T9" fmla="*/ 1 h 63"/>
                  <a:gd name="T10" fmla="*/ 74 w 93"/>
                  <a:gd name="T11" fmla="*/ 0 h 63"/>
                  <a:gd name="T12" fmla="*/ 18 w 93"/>
                  <a:gd name="T13" fmla="*/ 0 h 63"/>
                  <a:gd name="T14" fmla="*/ 12 w 93"/>
                  <a:gd name="T15" fmla="*/ 1 h 63"/>
                  <a:gd name="T16" fmla="*/ 6 w 93"/>
                  <a:gd name="T17" fmla="*/ 6 h 63"/>
                  <a:gd name="T18" fmla="*/ 1 w 93"/>
                  <a:gd name="T19" fmla="*/ 12 h 63"/>
                  <a:gd name="T20" fmla="*/ 0 w 93"/>
                  <a:gd name="T21" fmla="*/ 18 h 63"/>
                  <a:gd name="T22" fmla="*/ 0 w 93"/>
                  <a:gd name="T23" fmla="*/ 62 h 63"/>
                  <a:gd name="T24" fmla="*/ 0 w 93"/>
                  <a:gd name="T25" fmla="*/ 63 h 63"/>
                  <a:gd name="T26" fmla="*/ 93 w 93"/>
                  <a:gd name="T27" fmla="*/ 28 h 63"/>
                  <a:gd name="T28" fmla="*/ 93 w 93"/>
                  <a:gd name="T29" fmla="*/ 1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63">
                    <a:moveTo>
                      <a:pt x="93" y="18"/>
                    </a:moveTo>
                    <a:lnTo>
                      <a:pt x="93" y="18"/>
                    </a:lnTo>
                    <a:cubicBezTo>
                      <a:pt x="93" y="16"/>
                      <a:pt x="92" y="14"/>
                      <a:pt x="91" y="12"/>
                    </a:cubicBezTo>
                    <a:cubicBezTo>
                      <a:pt x="90" y="10"/>
                      <a:pt x="89" y="8"/>
                      <a:pt x="87" y="6"/>
                    </a:cubicBezTo>
                    <a:cubicBezTo>
                      <a:pt x="85" y="4"/>
                      <a:pt x="83" y="3"/>
                      <a:pt x="81" y="1"/>
                    </a:cubicBezTo>
                    <a:cubicBezTo>
                      <a:pt x="79" y="0"/>
                      <a:pt x="76" y="0"/>
                      <a:pt x="74" y="0"/>
                    </a:cubicBezTo>
                    <a:lnTo>
                      <a:pt x="18" y="0"/>
                    </a:lnTo>
                    <a:cubicBezTo>
                      <a:pt x="16" y="0"/>
                      <a:pt x="14" y="0"/>
                      <a:pt x="12" y="1"/>
                    </a:cubicBezTo>
                    <a:cubicBezTo>
                      <a:pt x="9" y="3"/>
                      <a:pt x="7" y="4"/>
                      <a:pt x="6" y="6"/>
                    </a:cubicBezTo>
                    <a:cubicBezTo>
                      <a:pt x="4" y="7"/>
                      <a:pt x="2" y="9"/>
                      <a:pt x="1" y="12"/>
                    </a:cubicBezTo>
                    <a:cubicBezTo>
                      <a:pt x="0" y="14"/>
                      <a:pt x="0" y="16"/>
                      <a:pt x="0" y="18"/>
                    </a:cubicBezTo>
                    <a:lnTo>
                      <a:pt x="0" y="62"/>
                    </a:lnTo>
                    <a:cubicBezTo>
                      <a:pt x="0" y="62"/>
                      <a:pt x="0" y="63"/>
                      <a:pt x="0" y="63"/>
                    </a:cubicBezTo>
                    <a:cubicBezTo>
                      <a:pt x="21" y="46"/>
                      <a:pt x="55" y="34"/>
                      <a:pt x="93" y="28"/>
                    </a:cubicBezTo>
                    <a:lnTo>
                      <a:pt x="93" y="1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Freeform 235">
                <a:extLst>
                  <a:ext uri="{FF2B5EF4-FFF2-40B4-BE49-F238E27FC236}">
                    <a16:creationId xmlns:a16="http://schemas.microsoft.com/office/drawing/2014/main" id="{DAB79C24-314A-4BBC-9E78-BFA27DDA1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" y="2796"/>
                <a:ext cx="33" cy="33"/>
              </a:xfrm>
              <a:custGeom>
                <a:avLst/>
                <a:gdLst>
                  <a:gd name="T0" fmla="*/ 26 w 53"/>
                  <a:gd name="T1" fmla="*/ 0 h 53"/>
                  <a:gd name="T2" fmla="*/ 26 w 53"/>
                  <a:gd name="T3" fmla="*/ 0 h 53"/>
                  <a:gd name="T4" fmla="*/ 0 w 53"/>
                  <a:gd name="T5" fmla="*/ 27 h 53"/>
                  <a:gd name="T6" fmla="*/ 26 w 53"/>
                  <a:gd name="T7" fmla="*/ 53 h 53"/>
                  <a:gd name="T8" fmla="*/ 53 w 53"/>
                  <a:gd name="T9" fmla="*/ 27 h 53"/>
                  <a:gd name="T10" fmla="*/ 26 w 53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" h="53">
                    <a:moveTo>
                      <a:pt x="26" y="0"/>
                    </a:moveTo>
                    <a:lnTo>
                      <a:pt x="26" y="0"/>
                    </a:lnTo>
                    <a:cubicBezTo>
                      <a:pt x="12" y="0"/>
                      <a:pt x="0" y="12"/>
                      <a:pt x="0" y="27"/>
                    </a:cubicBezTo>
                    <a:cubicBezTo>
                      <a:pt x="0" y="42"/>
                      <a:pt x="12" y="53"/>
                      <a:pt x="26" y="53"/>
                    </a:cubicBezTo>
                    <a:cubicBezTo>
                      <a:pt x="41" y="53"/>
                      <a:pt x="53" y="42"/>
                      <a:pt x="53" y="27"/>
                    </a:cubicBezTo>
                    <a:cubicBezTo>
                      <a:pt x="53" y="12"/>
                      <a:pt x="41" y="0"/>
                      <a:pt x="26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Freeform 236">
                <a:extLst>
                  <a:ext uri="{FF2B5EF4-FFF2-40B4-BE49-F238E27FC236}">
                    <a16:creationId xmlns:a16="http://schemas.microsoft.com/office/drawing/2014/main" id="{0621E224-13C1-4ECD-B92C-A61A2005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838"/>
                <a:ext cx="59" cy="36"/>
              </a:xfrm>
              <a:custGeom>
                <a:avLst/>
                <a:gdLst>
                  <a:gd name="T0" fmla="*/ 94 w 94"/>
                  <a:gd name="T1" fmla="*/ 18 h 59"/>
                  <a:gd name="T2" fmla="*/ 94 w 94"/>
                  <a:gd name="T3" fmla="*/ 18 h 59"/>
                  <a:gd name="T4" fmla="*/ 92 w 94"/>
                  <a:gd name="T5" fmla="*/ 12 h 59"/>
                  <a:gd name="T6" fmla="*/ 88 w 94"/>
                  <a:gd name="T7" fmla="*/ 6 h 59"/>
                  <a:gd name="T8" fmla="*/ 82 w 94"/>
                  <a:gd name="T9" fmla="*/ 1 h 59"/>
                  <a:gd name="T10" fmla="*/ 75 w 94"/>
                  <a:gd name="T11" fmla="*/ 0 h 59"/>
                  <a:gd name="T12" fmla="*/ 19 w 94"/>
                  <a:gd name="T13" fmla="*/ 0 h 59"/>
                  <a:gd name="T14" fmla="*/ 12 w 94"/>
                  <a:gd name="T15" fmla="*/ 1 h 59"/>
                  <a:gd name="T16" fmla="*/ 6 w 94"/>
                  <a:gd name="T17" fmla="*/ 6 h 59"/>
                  <a:gd name="T18" fmla="*/ 2 w 94"/>
                  <a:gd name="T19" fmla="*/ 12 h 59"/>
                  <a:gd name="T20" fmla="*/ 0 w 94"/>
                  <a:gd name="T21" fmla="*/ 18 h 59"/>
                  <a:gd name="T22" fmla="*/ 0 w 94"/>
                  <a:gd name="T23" fmla="*/ 27 h 59"/>
                  <a:gd name="T24" fmla="*/ 94 w 94"/>
                  <a:gd name="T25" fmla="*/ 59 h 59"/>
                  <a:gd name="T26" fmla="*/ 94 w 94"/>
                  <a:gd name="T27" fmla="*/ 1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59">
                    <a:moveTo>
                      <a:pt x="94" y="18"/>
                    </a:moveTo>
                    <a:lnTo>
                      <a:pt x="94" y="18"/>
                    </a:lnTo>
                    <a:cubicBezTo>
                      <a:pt x="94" y="16"/>
                      <a:pt x="93" y="14"/>
                      <a:pt x="92" y="12"/>
                    </a:cubicBezTo>
                    <a:cubicBezTo>
                      <a:pt x="91" y="10"/>
                      <a:pt x="89" y="8"/>
                      <a:pt x="88" y="6"/>
                    </a:cubicBezTo>
                    <a:cubicBezTo>
                      <a:pt x="86" y="4"/>
                      <a:pt x="84" y="3"/>
                      <a:pt x="82" y="1"/>
                    </a:cubicBezTo>
                    <a:cubicBezTo>
                      <a:pt x="79" y="0"/>
                      <a:pt x="77" y="0"/>
                      <a:pt x="75" y="0"/>
                    </a:cubicBezTo>
                    <a:lnTo>
                      <a:pt x="19" y="0"/>
                    </a:lnTo>
                    <a:cubicBezTo>
                      <a:pt x="17" y="0"/>
                      <a:pt x="15" y="0"/>
                      <a:pt x="12" y="1"/>
                    </a:cubicBezTo>
                    <a:cubicBezTo>
                      <a:pt x="10" y="3"/>
                      <a:pt x="8" y="4"/>
                      <a:pt x="6" y="6"/>
                    </a:cubicBezTo>
                    <a:cubicBezTo>
                      <a:pt x="5" y="7"/>
                      <a:pt x="3" y="9"/>
                      <a:pt x="2" y="12"/>
                    </a:cubicBezTo>
                    <a:cubicBezTo>
                      <a:pt x="1" y="14"/>
                      <a:pt x="0" y="16"/>
                      <a:pt x="0" y="18"/>
                    </a:cubicBezTo>
                    <a:lnTo>
                      <a:pt x="0" y="27"/>
                    </a:lnTo>
                    <a:cubicBezTo>
                      <a:pt x="38" y="33"/>
                      <a:pt x="71" y="44"/>
                      <a:pt x="94" y="59"/>
                    </a:cubicBezTo>
                    <a:lnTo>
                      <a:pt x="94" y="1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Freeform 237">
                <a:extLst>
                  <a:ext uri="{FF2B5EF4-FFF2-40B4-BE49-F238E27FC236}">
                    <a16:creationId xmlns:a16="http://schemas.microsoft.com/office/drawing/2014/main" id="{93F2E01A-E15E-49CB-912E-DC9BBBACE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796"/>
                <a:ext cx="33" cy="33"/>
              </a:xfrm>
              <a:custGeom>
                <a:avLst/>
                <a:gdLst>
                  <a:gd name="T0" fmla="*/ 0 w 54"/>
                  <a:gd name="T1" fmla="*/ 27 h 53"/>
                  <a:gd name="T2" fmla="*/ 0 w 54"/>
                  <a:gd name="T3" fmla="*/ 27 h 53"/>
                  <a:gd name="T4" fmla="*/ 27 w 54"/>
                  <a:gd name="T5" fmla="*/ 53 h 53"/>
                  <a:gd name="T6" fmla="*/ 54 w 54"/>
                  <a:gd name="T7" fmla="*/ 27 h 53"/>
                  <a:gd name="T8" fmla="*/ 27 w 54"/>
                  <a:gd name="T9" fmla="*/ 0 h 53"/>
                  <a:gd name="T10" fmla="*/ 0 w 54"/>
                  <a:gd name="T11" fmla="*/ 2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3">
                    <a:moveTo>
                      <a:pt x="0" y="27"/>
                    </a:moveTo>
                    <a:lnTo>
                      <a:pt x="0" y="27"/>
                    </a:lnTo>
                    <a:cubicBezTo>
                      <a:pt x="0" y="42"/>
                      <a:pt x="12" y="53"/>
                      <a:pt x="27" y="53"/>
                    </a:cubicBezTo>
                    <a:cubicBezTo>
                      <a:pt x="42" y="53"/>
                      <a:pt x="54" y="42"/>
                      <a:pt x="54" y="27"/>
                    </a:cubicBezTo>
                    <a:cubicBezTo>
                      <a:pt x="54" y="12"/>
                      <a:pt x="42" y="0"/>
                      <a:pt x="27" y="0"/>
                    </a:cubicBezTo>
                    <a:cubicBezTo>
                      <a:pt x="12" y="0"/>
                      <a:pt x="0" y="12"/>
                      <a:pt x="0" y="2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Freeform 238">
                <a:extLst>
                  <a:ext uri="{FF2B5EF4-FFF2-40B4-BE49-F238E27FC236}">
                    <a16:creationId xmlns:a16="http://schemas.microsoft.com/office/drawing/2014/main" id="{9E4824F0-536E-4EC8-9759-CEF9DECDD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2868"/>
                <a:ext cx="205" cy="72"/>
              </a:xfrm>
              <a:custGeom>
                <a:avLst/>
                <a:gdLst>
                  <a:gd name="T0" fmla="*/ 311 w 331"/>
                  <a:gd name="T1" fmla="*/ 31 h 116"/>
                  <a:gd name="T2" fmla="*/ 311 w 331"/>
                  <a:gd name="T3" fmla="*/ 31 h 116"/>
                  <a:gd name="T4" fmla="*/ 236 w 331"/>
                  <a:gd name="T5" fmla="*/ 6 h 116"/>
                  <a:gd name="T6" fmla="*/ 192 w 331"/>
                  <a:gd name="T7" fmla="*/ 1 h 116"/>
                  <a:gd name="T8" fmla="*/ 165 w 331"/>
                  <a:gd name="T9" fmla="*/ 0 h 116"/>
                  <a:gd name="T10" fmla="*/ 135 w 331"/>
                  <a:gd name="T11" fmla="*/ 1 h 116"/>
                  <a:gd name="T12" fmla="*/ 90 w 331"/>
                  <a:gd name="T13" fmla="*/ 7 h 116"/>
                  <a:gd name="T14" fmla="*/ 15 w 331"/>
                  <a:gd name="T15" fmla="*/ 34 h 116"/>
                  <a:gd name="T16" fmla="*/ 0 w 331"/>
                  <a:gd name="T17" fmla="*/ 58 h 116"/>
                  <a:gd name="T18" fmla="*/ 165 w 331"/>
                  <a:gd name="T19" fmla="*/ 116 h 116"/>
                  <a:gd name="T20" fmla="*/ 331 w 331"/>
                  <a:gd name="T21" fmla="*/ 58 h 116"/>
                  <a:gd name="T22" fmla="*/ 311 w 331"/>
                  <a:gd name="T23" fmla="*/ 3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1" h="116">
                    <a:moveTo>
                      <a:pt x="311" y="31"/>
                    </a:moveTo>
                    <a:lnTo>
                      <a:pt x="311" y="31"/>
                    </a:lnTo>
                    <a:cubicBezTo>
                      <a:pt x="295" y="20"/>
                      <a:pt x="268" y="11"/>
                      <a:pt x="236" y="6"/>
                    </a:cubicBezTo>
                    <a:cubicBezTo>
                      <a:pt x="223" y="4"/>
                      <a:pt x="208" y="2"/>
                      <a:pt x="192" y="1"/>
                    </a:cubicBezTo>
                    <a:cubicBezTo>
                      <a:pt x="183" y="1"/>
                      <a:pt x="174" y="0"/>
                      <a:pt x="165" y="0"/>
                    </a:cubicBezTo>
                    <a:cubicBezTo>
                      <a:pt x="155" y="0"/>
                      <a:pt x="145" y="1"/>
                      <a:pt x="135" y="1"/>
                    </a:cubicBezTo>
                    <a:cubicBezTo>
                      <a:pt x="119" y="2"/>
                      <a:pt x="104" y="4"/>
                      <a:pt x="90" y="7"/>
                    </a:cubicBezTo>
                    <a:cubicBezTo>
                      <a:pt x="57" y="13"/>
                      <a:pt x="31" y="22"/>
                      <a:pt x="15" y="34"/>
                    </a:cubicBezTo>
                    <a:cubicBezTo>
                      <a:pt x="5" y="41"/>
                      <a:pt x="0" y="50"/>
                      <a:pt x="0" y="58"/>
                    </a:cubicBezTo>
                    <a:cubicBezTo>
                      <a:pt x="0" y="90"/>
                      <a:pt x="74" y="116"/>
                      <a:pt x="165" y="116"/>
                    </a:cubicBezTo>
                    <a:cubicBezTo>
                      <a:pt x="257" y="116"/>
                      <a:pt x="331" y="90"/>
                      <a:pt x="331" y="58"/>
                    </a:cubicBezTo>
                    <a:cubicBezTo>
                      <a:pt x="331" y="48"/>
                      <a:pt x="324" y="39"/>
                      <a:pt x="311" y="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6838670-3011-493F-BD76-5978CFD793CE}"/>
              </a:ext>
            </a:extLst>
          </p:cNvPr>
          <p:cNvGrpSpPr/>
          <p:nvPr/>
        </p:nvGrpSpPr>
        <p:grpSpPr>
          <a:xfrm>
            <a:off x="4492241" y="2513385"/>
            <a:ext cx="638636" cy="576306"/>
            <a:chOff x="4492241" y="2513385"/>
            <a:chExt cx="638636" cy="576306"/>
          </a:xfrm>
        </p:grpSpPr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51148DF5-A7F5-46E1-A0A9-FF2F016F26EB}"/>
                </a:ext>
              </a:extLst>
            </p:cNvPr>
            <p:cNvSpPr txBox="1"/>
            <p:nvPr/>
          </p:nvSpPr>
          <p:spPr>
            <a:xfrm>
              <a:off x="4492241" y="2905025"/>
              <a:ext cx="63863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rketing</a:t>
              </a:r>
            </a:p>
          </p:txBody>
        </p:sp>
        <p:grpSp>
          <p:nvGrpSpPr>
            <p:cNvPr id="202" name="Group 254">
              <a:extLst>
                <a:ext uri="{FF2B5EF4-FFF2-40B4-BE49-F238E27FC236}">
                  <a16:creationId xmlns:a16="http://schemas.microsoft.com/office/drawing/2014/main" id="{44849552-B4B4-4830-9E59-458C02D5626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674387" y="2513385"/>
              <a:ext cx="274345" cy="359091"/>
              <a:chOff x="5053" y="3360"/>
              <a:chExt cx="191" cy="250"/>
            </a:xfrm>
            <a:solidFill>
              <a:schemeClr val="bg1"/>
            </a:solidFill>
          </p:grpSpPr>
          <p:sp>
            <p:nvSpPr>
              <p:cNvPr id="203" name="Freeform 255">
                <a:extLst>
                  <a:ext uri="{FF2B5EF4-FFF2-40B4-BE49-F238E27FC236}">
                    <a16:creationId xmlns:a16="http://schemas.microsoft.com/office/drawing/2014/main" id="{6EEAD7E3-85E0-4B38-9CFC-B182B9C16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3360"/>
                <a:ext cx="132" cy="66"/>
              </a:xfrm>
              <a:custGeom>
                <a:avLst/>
                <a:gdLst>
                  <a:gd name="T0" fmla="*/ 33 w 213"/>
                  <a:gd name="T1" fmla="*/ 77 h 105"/>
                  <a:gd name="T2" fmla="*/ 33 w 213"/>
                  <a:gd name="T3" fmla="*/ 77 h 105"/>
                  <a:gd name="T4" fmla="*/ 50 w 213"/>
                  <a:gd name="T5" fmla="*/ 51 h 105"/>
                  <a:gd name="T6" fmla="*/ 75 w 213"/>
                  <a:gd name="T7" fmla="*/ 33 h 105"/>
                  <a:gd name="T8" fmla="*/ 107 w 213"/>
                  <a:gd name="T9" fmla="*/ 27 h 105"/>
                  <a:gd name="T10" fmla="*/ 139 w 213"/>
                  <a:gd name="T11" fmla="*/ 33 h 105"/>
                  <a:gd name="T12" fmla="*/ 164 w 213"/>
                  <a:gd name="T13" fmla="*/ 51 h 105"/>
                  <a:gd name="T14" fmla="*/ 181 w 213"/>
                  <a:gd name="T15" fmla="*/ 77 h 105"/>
                  <a:gd name="T16" fmla="*/ 187 w 213"/>
                  <a:gd name="T17" fmla="*/ 105 h 105"/>
                  <a:gd name="T18" fmla="*/ 213 w 213"/>
                  <a:gd name="T19" fmla="*/ 105 h 105"/>
                  <a:gd name="T20" fmla="*/ 205 w 213"/>
                  <a:gd name="T21" fmla="*/ 66 h 105"/>
                  <a:gd name="T22" fmla="*/ 183 w 213"/>
                  <a:gd name="T23" fmla="*/ 32 h 105"/>
                  <a:gd name="T24" fmla="*/ 149 w 213"/>
                  <a:gd name="T25" fmla="*/ 8 h 105"/>
                  <a:gd name="T26" fmla="*/ 107 w 213"/>
                  <a:gd name="T27" fmla="*/ 0 h 105"/>
                  <a:gd name="T28" fmla="*/ 65 w 213"/>
                  <a:gd name="T29" fmla="*/ 8 h 105"/>
                  <a:gd name="T30" fmla="*/ 31 w 213"/>
                  <a:gd name="T31" fmla="*/ 32 h 105"/>
                  <a:gd name="T32" fmla="*/ 8 w 213"/>
                  <a:gd name="T33" fmla="*/ 66 h 105"/>
                  <a:gd name="T34" fmla="*/ 0 w 213"/>
                  <a:gd name="T35" fmla="*/ 105 h 105"/>
                  <a:gd name="T36" fmla="*/ 27 w 213"/>
                  <a:gd name="T37" fmla="*/ 105 h 105"/>
                  <a:gd name="T38" fmla="*/ 33 w 213"/>
                  <a:gd name="T39" fmla="*/ 77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3" h="105">
                    <a:moveTo>
                      <a:pt x="33" y="77"/>
                    </a:moveTo>
                    <a:lnTo>
                      <a:pt x="33" y="77"/>
                    </a:lnTo>
                    <a:cubicBezTo>
                      <a:pt x="37" y="67"/>
                      <a:pt x="43" y="58"/>
                      <a:pt x="50" y="51"/>
                    </a:cubicBezTo>
                    <a:cubicBezTo>
                      <a:pt x="57" y="43"/>
                      <a:pt x="65" y="37"/>
                      <a:pt x="75" y="33"/>
                    </a:cubicBezTo>
                    <a:cubicBezTo>
                      <a:pt x="85" y="29"/>
                      <a:pt x="95" y="27"/>
                      <a:pt x="107" y="27"/>
                    </a:cubicBezTo>
                    <a:cubicBezTo>
                      <a:pt x="118" y="27"/>
                      <a:pt x="129" y="29"/>
                      <a:pt x="139" y="33"/>
                    </a:cubicBezTo>
                    <a:cubicBezTo>
                      <a:pt x="148" y="37"/>
                      <a:pt x="157" y="43"/>
                      <a:pt x="164" y="51"/>
                    </a:cubicBezTo>
                    <a:cubicBezTo>
                      <a:pt x="171" y="58"/>
                      <a:pt x="177" y="67"/>
                      <a:pt x="181" y="77"/>
                    </a:cubicBezTo>
                    <a:cubicBezTo>
                      <a:pt x="184" y="86"/>
                      <a:pt x="186" y="95"/>
                      <a:pt x="187" y="105"/>
                    </a:cubicBezTo>
                    <a:lnTo>
                      <a:pt x="213" y="105"/>
                    </a:lnTo>
                    <a:cubicBezTo>
                      <a:pt x="213" y="91"/>
                      <a:pt x="210" y="78"/>
                      <a:pt x="205" y="66"/>
                    </a:cubicBezTo>
                    <a:cubicBezTo>
                      <a:pt x="200" y="53"/>
                      <a:pt x="192" y="42"/>
                      <a:pt x="183" y="32"/>
                    </a:cubicBezTo>
                    <a:cubicBezTo>
                      <a:pt x="173" y="22"/>
                      <a:pt x="162" y="14"/>
                      <a:pt x="149" y="8"/>
                    </a:cubicBezTo>
                    <a:cubicBezTo>
                      <a:pt x="136" y="3"/>
                      <a:pt x="122" y="0"/>
                      <a:pt x="107" y="0"/>
                    </a:cubicBezTo>
                    <a:cubicBezTo>
                      <a:pt x="92" y="0"/>
                      <a:pt x="78" y="3"/>
                      <a:pt x="65" y="8"/>
                    </a:cubicBezTo>
                    <a:cubicBezTo>
                      <a:pt x="52" y="14"/>
                      <a:pt x="40" y="22"/>
                      <a:pt x="31" y="32"/>
                    </a:cubicBezTo>
                    <a:cubicBezTo>
                      <a:pt x="21" y="42"/>
                      <a:pt x="14" y="53"/>
                      <a:pt x="8" y="66"/>
                    </a:cubicBezTo>
                    <a:cubicBezTo>
                      <a:pt x="3" y="78"/>
                      <a:pt x="1" y="91"/>
                      <a:pt x="0" y="105"/>
                    </a:cubicBezTo>
                    <a:lnTo>
                      <a:pt x="27" y="105"/>
                    </a:lnTo>
                    <a:cubicBezTo>
                      <a:pt x="28" y="95"/>
                      <a:pt x="29" y="86"/>
                      <a:pt x="33" y="7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Freeform 256">
                <a:extLst>
                  <a:ext uri="{FF2B5EF4-FFF2-40B4-BE49-F238E27FC236}">
                    <a16:creationId xmlns:a16="http://schemas.microsoft.com/office/drawing/2014/main" id="{03104F94-3654-477F-AC4C-BFD93F2DD0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3" y="3426"/>
                <a:ext cx="191" cy="167"/>
              </a:xfrm>
              <a:custGeom>
                <a:avLst/>
                <a:gdLst>
                  <a:gd name="T0" fmla="*/ 70 w 308"/>
                  <a:gd name="T1" fmla="*/ 51 h 270"/>
                  <a:gd name="T2" fmla="*/ 70 w 308"/>
                  <a:gd name="T3" fmla="*/ 51 h 270"/>
                  <a:gd name="T4" fmla="*/ 61 w 308"/>
                  <a:gd name="T5" fmla="*/ 55 h 270"/>
                  <a:gd name="T6" fmla="*/ 51 w 308"/>
                  <a:gd name="T7" fmla="*/ 51 h 270"/>
                  <a:gd name="T8" fmla="*/ 47 w 308"/>
                  <a:gd name="T9" fmla="*/ 42 h 270"/>
                  <a:gd name="T10" fmla="*/ 51 w 308"/>
                  <a:gd name="T11" fmla="*/ 32 h 270"/>
                  <a:gd name="T12" fmla="*/ 61 w 308"/>
                  <a:gd name="T13" fmla="*/ 28 h 270"/>
                  <a:gd name="T14" fmla="*/ 70 w 308"/>
                  <a:gd name="T15" fmla="*/ 32 h 270"/>
                  <a:gd name="T16" fmla="*/ 74 w 308"/>
                  <a:gd name="T17" fmla="*/ 42 h 270"/>
                  <a:gd name="T18" fmla="*/ 70 w 308"/>
                  <a:gd name="T19" fmla="*/ 51 h 270"/>
                  <a:gd name="T20" fmla="*/ 238 w 308"/>
                  <a:gd name="T21" fmla="*/ 32 h 270"/>
                  <a:gd name="T22" fmla="*/ 238 w 308"/>
                  <a:gd name="T23" fmla="*/ 32 h 270"/>
                  <a:gd name="T24" fmla="*/ 247 w 308"/>
                  <a:gd name="T25" fmla="*/ 28 h 270"/>
                  <a:gd name="T26" fmla="*/ 257 w 308"/>
                  <a:gd name="T27" fmla="*/ 32 h 270"/>
                  <a:gd name="T28" fmla="*/ 261 w 308"/>
                  <a:gd name="T29" fmla="*/ 42 h 270"/>
                  <a:gd name="T30" fmla="*/ 257 w 308"/>
                  <a:gd name="T31" fmla="*/ 51 h 270"/>
                  <a:gd name="T32" fmla="*/ 247 w 308"/>
                  <a:gd name="T33" fmla="*/ 55 h 270"/>
                  <a:gd name="T34" fmla="*/ 238 w 308"/>
                  <a:gd name="T35" fmla="*/ 51 h 270"/>
                  <a:gd name="T36" fmla="*/ 234 w 308"/>
                  <a:gd name="T37" fmla="*/ 42 h 270"/>
                  <a:gd name="T38" fmla="*/ 238 w 308"/>
                  <a:gd name="T39" fmla="*/ 32 h 270"/>
                  <a:gd name="T40" fmla="*/ 154 w 308"/>
                  <a:gd name="T41" fmla="*/ 197 h 270"/>
                  <a:gd name="T42" fmla="*/ 154 w 308"/>
                  <a:gd name="T43" fmla="*/ 197 h 270"/>
                  <a:gd name="T44" fmla="*/ 165 w 308"/>
                  <a:gd name="T45" fmla="*/ 202 h 270"/>
                  <a:gd name="T46" fmla="*/ 308 w 308"/>
                  <a:gd name="T47" fmla="*/ 270 h 270"/>
                  <a:gd name="T48" fmla="*/ 308 w 308"/>
                  <a:gd name="T49" fmla="*/ 82 h 270"/>
                  <a:gd name="T50" fmla="*/ 308 w 308"/>
                  <a:gd name="T51" fmla="*/ 0 h 270"/>
                  <a:gd name="T52" fmla="*/ 260 w 308"/>
                  <a:gd name="T53" fmla="*/ 0 h 270"/>
                  <a:gd name="T54" fmla="*/ 234 w 308"/>
                  <a:gd name="T55" fmla="*/ 0 h 270"/>
                  <a:gd name="T56" fmla="*/ 74 w 308"/>
                  <a:gd name="T57" fmla="*/ 0 h 270"/>
                  <a:gd name="T58" fmla="*/ 47 w 308"/>
                  <a:gd name="T59" fmla="*/ 0 h 270"/>
                  <a:gd name="T60" fmla="*/ 0 w 308"/>
                  <a:gd name="T61" fmla="*/ 0 h 270"/>
                  <a:gd name="T62" fmla="*/ 0 w 308"/>
                  <a:gd name="T63" fmla="*/ 82 h 270"/>
                  <a:gd name="T64" fmla="*/ 0 w 308"/>
                  <a:gd name="T65" fmla="*/ 270 h 270"/>
                  <a:gd name="T66" fmla="*/ 143 w 308"/>
                  <a:gd name="T67" fmla="*/ 202 h 270"/>
                  <a:gd name="T68" fmla="*/ 154 w 308"/>
                  <a:gd name="T69" fmla="*/ 19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8" h="270">
                    <a:moveTo>
                      <a:pt x="70" y="51"/>
                    </a:moveTo>
                    <a:lnTo>
                      <a:pt x="70" y="51"/>
                    </a:lnTo>
                    <a:cubicBezTo>
                      <a:pt x="67" y="54"/>
                      <a:pt x="64" y="55"/>
                      <a:pt x="61" y="55"/>
                    </a:cubicBezTo>
                    <a:cubicBezTo>
                      <a:pt x="57" y="55"/>
                      <a:pt x="54" y="54"/>
                      <a:pt x="51" y="51"/>
                    </a:cubicBezTo>
                    <a:cubicBezTo>
                      <a:pt x="48" y="48"/>
                      <a:pt x="47" y="45"/>
                      <a:pt x="47" y="42"/>
                    </a:cubicBezTo>
                    <a:cubicBezTo>
                      <a:pt x="47" y="38"/>
                      <a:pt x="48" y="35"/>
                      <a:pt x="51" y="32"/>
                    </a:cubicBezTo>
                    <a:cubicBezTo>
                      <a:pt x="54" y="30"/>
                      <a:pt x="57" y="28"/>
                      <a:pt x="61" y="28"/>
                    </a:cubicBezTo>
                    <a:cubicBezTo>
                      <a:pt x="64" y="28"/>
                      <a:pt x="67" y="30"/>
                      <a:pt x="70" y="32"/>
                    </a:cubicBezTo>
                    <a:cubicBezTo>
                      <a:pt x="73" y="35"/>
                      <a:pt x="74" y="38"/>
                      <a:pt x="74" y="42"/>
                    </a:cubicBezTo>
                    <a:cubicBezTo>
                      <a:pt x="74" y="45"/>
                      <a:pt x="73" y="48"/>
                      <a:pt x="70" y="51"/>
                    </a:cubicBezTo>
                    <a:close/>
                    <a:moveTo>
                      <a:pt x="238" y="32"/>
                    </a:moveTo>
                    <a:lnTo>
                      <a:pt x="238" y="32"/>
                    </a:lnTo>
                    <a:cubicBezTo>
                      <a:pt x="240" y="30"/>
                      <a:pt x="244" y="28"/>
                      <a:pt x="247" y="28"/>
                    </a:cubicBezTo>
                    <a:cubicBezTo>
                      <a:pt x="251" y="28"/>
                      <a:pt x="254" y="30"/>
                      <a:pt x="257" y="32"/>
                    </a:cubicBezTo>
                    <a:cubicBezTo>
                      <a:pt x="259" y="35"/>
                      <a:pt x="261" y="38"/>
                      <a:pt x="261" y="42"/>
                    </a:cubicBezTo>
                    <a:cubicBezTo>
                      <a:pt x="261" y="45"/>
                      <a:pt x="259" y="48"/>
                      <a:pt x="257" y="51"/>
                    </a:cubicBezTo>
                    <a:cubicBezTo>
                      <a:pt x="254" y="54"/>
                      <a:pt x="251" y="55"/>
                      <a:pt x="247" y="55"/>
                    </a:cubicBezTo>
                    <a:cubicBezTo>
                      <a:pt x="244" y="55"/>
                      <a:pt x="240" y="54"/>
                      <a:pt x="238" y="51"/>
                    </a:cubicBezTo>
                    <a:cubicBezTo>
                      <a:pt x="235" y="48"/>
                      <a:pt x="234" y="45"/>
                      <a:pt x="234" y="42"/>
                    </a:cubicBezTo>
                    <a:cubicBezTo>
                      <a:pt x="234" y="38"/>
                      <a:pt x="235" y="35"/>
                      <a:pt x="238" y="32"/>
                    </a:cubicBezTo>
                    <a:close/>
                    <a:moveTo>
                      <a:pt x="154" y="197"/>
                    </a:moveTo>
                    <a:lnTo>
                      <a:pt x="154" y="197"/>
                    </a:lnTo>
                    <a:lnTo>
                      <a:pt x="165" y="202"/>
                    </a:lnTo>
                    <a:lnTo>
                      <a:pt x="308" y="270"/>
                    </a:lnTo>
                    <a:lnTo>
                      <a:pt x="308" y="82"/>
                    </a:lnTo>
                    <a:lnTo>
                      <a:pt x="308" y="0"/>
                    </a:lnTo>
                    <a:lnTo>
                      <a:pt x="260" y="0"/>
                    </a:lnTo>
                    <a:lnTo>
                      <a:pt x="234" y="0"/>
                    </a:lnTo>
                    <a:lnTo>
                      <a:pt x="74" y="0"/>
                    </a:lnTo>
                    <a:lnTo>
                      <a:pt x="47" y="0"/>
                    </a:lnTo>
                    <a:lnTo>
                      <a:pt x="0" y="0"/>
                    </a:lnTo>
                    <a:lnTo>
                      <a:pt x="0" y="82"/>
                    </a:lnTo>
                    <a:lnTo>
                      <a:pt x="0" y="270"/>
                    </a:lnTo>
                    <a:lnTo>
                      <a:pt x="143" y="202"/>
                    </a:lnTo>
                    <a:lnTo>
                      <a:pt x="154" y="19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Freeform 259">
                <a:extLst>
                  <a:ext uri="{FF2B5EF4-FFF2-40B4-BE49-F238E27FC236}">
                    <a16:creationId xmlns:a16="http://schemas.microsoft.com/office/drawing/2014/main" id="{BADA733A-3EC1-463C-A38C-4C534529B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" y="3565"/>
                <a:ext cx="190" cy="45"/>
              </a:xfrm>
              <a:custGeom>
                <a:avLst/>
                <a:gdLst>
                  <a:gd name="T0" fmla="*/ 153 w 305"/>
                  <a:gd name="T1" fmla="*/ 0 h 72"/>
                  <a:gd name="T2" fmla="*/ 153 w 305"/>
                  <a:gd name="T3" fmla="*/ 0 h 72"/>
                  <a:gd name="T4" fmla="*/ 0 w 305"/>
                  <a:gd name="T5" fmla="*/ 72 h 72"/>
                  <a:gd name="T6" fmla="*/ 153 w 305"/>
                  <a:gd name="T7" fmla="*/ 72 h 72"/>
                  <a:gd name="T8" fmla="*/ 305 w 305"/>
                  <a:gd name="T9" fmla="*/ 72 h 72"/>
                  <a:gd name="T10" fmla="*/ 153 w 305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5" h="72">
                    <a:moveTo>
                      <a:pt x="153" y="0"/>
                    </a:moveTo>
                    <a:lnTo>
                      <a:pt x="153" y="0"/>
                    </a:lnTo>
                    <a:lnTo>
                      <a:pt x="0" y="72"/>
                    </a:lnTo>
                    <a:lnTo>
                      <a:pt x="153" y="72"/>
                    </a:lnTo>
                    <a:lnTo>
                      <a:pt x="305" y="72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F48B71F-92C3-4B33-8A87-8A2C119D61D6}"/>
              </a:ext>
            </a:extLst>
          </p:cNvPr>
          <p:cNvGrpSpPr/>
          <p:nvPr/>
        </p:nvGrpSpPr>
        <p:grpSpPr>
          <a:xfrm>
            <a:off x="4054880" y="5202468"/>
            <a:ext cx="4076608" cy="1438060"/>
            <a:chOff x="4054880" y="5202468"/>
            <a:chExt cx="4076608" cy="1438060"/>
          </a:xfrm>
        </p:grpSpPr>
        <p:sp>
          <p:nvSpPr>
            <p:cNvPr id="207" name="Data">
              <a:extLst>
                <a:ext uri="{FF2B5EF4-FFF2-40B4-BE49-F238E27FC236}">
                  <a16:creationId xmlns:a16="http://schemas.microsoft.com/office/drawing/2014/main" id="{873857A9-9DA8-4265-B4D1-E1C0A0902F2F}"/>
                </a:ext>
              </a:extLst>
            </p:cNvPr>
            <p:cNvSpPr txBox="1"/>
            <p:nvPr/>
          </p:nvSpPr>
          <p:spPr>
            <a:xfrm>
              <a:off x="4605453" y="5534094"/>
              <a:ext cx="2981096" cy="1106434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Down">
                <a:avLst>
                  <a:gd name="adj" fmla="val 102210"/>
                </a:avLst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 dirty="0">
                  <a:ln>
                    <a:noFill/>
                  </a:ln>
                  <a:solidFill>
                    <a:srgbClr val="56545B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Power Platform</a:t>
              </a:r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63647CE4-1AB1-4887-87D6-0AC46A50AAE4}"/>
                </a:ext>
              </a:extLst>
            </p:cNvPr>
            <p:cNvGrpSpPr/>
            <p:nvPr/>
          </p:nvGrpSpPr>
          <p:grpSpPr>
            <a:xfrm>
              <a:off x="4054880" y="5202468"/>
              <a:ext cx="4076608" cy="1106731"/>
              <a:chOff x="4054880" y="5202468"/>
              <a:chExt cx="4076608" cy="1106731"/>
            </a:xfrm>
          </p:grpSpPr>
          <p:sp>
            <p:nvSpPr>
              <p:cNvPr id="209" name="Arc 126">
                <a:extLst>
                  <a:ext uri="{FF2B5EF4-FFF2-40B4-BE49-F238E27FC236}">
                    <a16:creationId xmlns:a16="http://schemas.microsoft.com/office/drawing/2014/main" id="{E684E07D-6A77-4ED0-B864-F55AFC31E2AE}"/>
                  </a:ext>
                </a:extLst>
              </p:cNvPr>
              <p:cNvSpPr/>
              <p:nvPr/>
            </p:nvSpPr>
            <p:spPr>
              <a:xfrm flipV="1">
                <a:off x="4054880" y="5202468"/>
                <a:ext cx="4076608" cy="947501"/>
              </a:xfrm>
              <a:custGeom>
                <a:avLst/>
                <a:gdLst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3" fmla="*/ 2672256 w 5344512"/>
                  <a:gd name="connsiteY3" fmla="*/ 2672255 h 5344510"/>
                  <a:gd name="connsiteX4" fmla="*/ 631136 w 5344512"/>
                  <a:gd name="connsiteY4" fmla="*/ 947501 h 5344510"/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0" fmla="*/ 2041120 w 4076608"/>
                  <a:gd name="connsiteY0" fmla="*/ 2672255 h 2763695"/>
                  <a:gd name="connsiteX1" fmla="*/ 0 w 4076608"/>
                  <a:gd name="connsiteY1" fmla="*/ 947501 h 2763695"/>
                  <a:gd name="connsiteX2" fmla="*/ 2036765 w 4076608"/>
                  <a:gd name="connsiteY2" fmla="*/ 4 h 2763695"/>
                  <a:gd name="connsiteX3" fmla="*/ 4076608 w 4076608"/>
                  <a:gd name="connsiteY3" fmla="*/ 940857 h 2763695"/>
                  <a:gd name="connsiteX4" fmla="*/ 2132560 w 4076608"/>
                  <a:gd name="connsiteY4" fmla="*/ 2763695 h 2763695"/>
                  <a:gd name="connsiteX0" fmla="*/ 0 w 4076608"/>
                  <a:gd name="connsiteY0" fmla="*/ 947501 h 2763695"/>
                  <a:gd name="connsiteX1" fmla="*/ 2036765 w 4076608"/>
                  <a:gd name="connsiteY1" fmla="*/ 4 h 2763695"/>
                  <a:gd name="connsiteX2" fmla="*/ 4076608 w 4076608"/>
                  <a:gd name="connsiteY2" fmla="*/ 940857 h 2763695"/>
                  <a:gd name="connsiteX0" fmla="*/ 2041120 w 4076608"/>
                  <a:gd name="connsiteY0" fmla="*/ 2672255 h 2672255"/>
                  <a:gd name="connsiteX1" fmla="*/ 0 w 4076608"/>
                  <a:gd name="connsiteY1" fmla="*/ 947501 h 2672255"/>
                  <a:gd name="connsiteX2" fmla="*/ 2036765 w 4076608"/>
                  <a:gd name="connsiteY2" fmla="*/ 4 h 2672255"/>
                  <a:gd name="connsiteX3" fmla="*/ 4076608 w 4076608"/>
                  <a:gd name="connsiteY3" fmla="*/ 940857 h 2672255"/>
                  <a:gd name="connsiteX0" fmla="*/ 0 w 4076608"/>
                  <a:gd name="connsiteY0" fmla="*/ 947501 h 2672255"/>
                  <a:gd name="connsiteX1" fmla="*/ 2036765 w 4076608"/>
                  <a:gd name="connsiteY1" fmla="*/ 4 h 2672255"/>
                  <a:gd name="connsiteX2" fmla="*/ 4076608 w 4076608"/>
                  <a:gd name="connsiteY2" fmla="*/ 940857 h 2672255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76608" h="947501" stroke="0" extrusionOk="0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  <a:path w="4076608" h="947501" fill="none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</a:pathLst>
              </a:custGeom>
              <a:noFill/>
              <a:ln w="12700" cap="rnd" cmpd="sng" algn="ctr">
                <a:solidFill>
                  <a:schemeClr val="tx2"/>
                </a:solidFill>
                <a:prstDash val="sysDash"/>
                <a:headEnd type="oval" w="sm" len="sm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8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7FFCB4BF-CE54-42A8-8568-84BF328291B6}"/>
                  </a:ext>
                </a:extLst>
              </p:cNvPr>
              <p:cNvGrpSpPr/>
              <p:nvPr/>
            </p:nvGrpSpPr>
            <p:grpSpPr>
              <a:xfrm>
                <a:off x="4373619" y="5458316"/>
                <a:ext cx="440917" cy="440917"/>
                <a:chOff x="4373619" y="5458316"/>
                <a:chExt cx="440917" cy="440917"/>
              </a:xfrm>
            </p:grpSpPr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D7F2D194-50E1-4E8B-AEF5-F3D960CE7EBC}"/>
                    </a:ext>
                  </a:extLst>
                </p:cNvPr>
                <p:cNvSpPr/>
                <p:nvPr/>
              </p:nvSpPr>
              <p:spPr>
                <a:xfrm>
                  <a:off x="4373619" y="5458316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18" name="Picture 8" descr="Image result for power bi logo">
                  <a:extLst>
                    <a:ext uri="{FF2B5EF4-FFF2-40B4-BE49-F238E27FC236}">
                      <a16:creationId xmlns:a16="http://schemas.microsoft.com/office/drawing/2014/main" id="{E331F8A3-BF11-4C4D-B55A-E4C69C957AD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" cstate="screen">
                  <a:clrChange>
                    <a:clrFrom>
                      <a:srgbClr val="F4F5F4"/>
                    </a:clrFrom>
                    <a:clrTo>
                      <a:srgbClr val="F4F5F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8958" t="5413" r="8958" b="37804"/>
                <a:stretch/>
              </p:blipFill>
              <p:spPr bwMode="auto">
                <a:xfrm>
                  <a:off x="4440912" y="5564148"/>
                  <a:ext cx="306332" cy="22925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FC868D2C-33E9-4C3B-AA6D-AA7AA7CC041D}"/>
                  </a:ext>
                </a:extLst>
              </p:cNvPr>
              <p:cNvGrpSpPr/>
              <p:nvPr/>
            </p:nvGrpSpPr>
            <p:grpSpPr>
              <a:xfrm>
                <a:off x="5437827" y="5868282"/>
                <a:ext cx="440917" cy="440917"/>
                <a:chOff x="5437827" y="5868282"/>
                <a:chExt cx="440917" cy="440917"/>
              </a:xfrm>
            </p:grpSpPr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FF60366B-25BB-4680-83AE-E2C38113FFAF}"/>
                    </a:ext>
                  </a:extLst>
                </p:cNvPr>
                <p:cNvSpPr/>
                <p:nvPr/>
              </p:nvSpPr>
              <p:spPr>
                <a:xfrm>
                  <a:off x="5437827" y="5868282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16" name="Picture 12" descr="Image result for power apps flow logo">
                  <a:extLst>
                    <a:ext uri="{FF2B5EF4-FFF2-40B4-BE49-F238E27FC236}">
                      <a16:creationId xmlns:a16="http://schemas.microsoft.com/office/drawing/2014/main" id="{DF457B08-1B3C-4706-972C-CF7888BE40D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22008" r="22008"/>
                <a:stretch/>
              </p:blipFill>
              <p:spPr bwMode="auto">
                <a:xfrm>
                  <a:off x="5524728" y="5973890"/>
                  <a:ext cx="267114" cy="22970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6089F897-738E-468D-8941-41F8BF53A98B}"/>
                  </a:ext>
                </a:extLst>
              </p:cNvPr>
              <p:cNvGrpSpPr/>
              <p:nvPr/>
            </p:nvGrpSpPr>
            <p:grpSpPr>
              <a:xfrm>
                <a:off x="6634242" y="5819366"/>
                <a:ext cx="440917" cy="440917"/>
                <a:chOff x="6634242" y="5819366"/>
                <a:chExt cx="440917" cy="440917"/>
              </a:xfrm>
            </p:grpSpPr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36B336E6-A7A3-4A59-B097-5316DE613F39}"/>
                    </a:ext>
                  </a:extLst>
                </p:cNvPr>
                <p:cNvSpPr/>
                <p:nvPr/>
              </p:nvSpPr>
              <p:spPr>
                <a:xfrm>
                  <a:off x="6634242" y="5819366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14" name="Picture 14" descr="Image result for power apps logo">
                  <a:extLst>
                    <a:ext uri="{FF2B5EF4-FFF2-40B4-BE49-F238E27FC236}">
                      <a16:creationId xmlns:a16="http://schemas.microsoft.com/office/drawing/2014/main" id="{A591FE56-E010-4D2B-9B43-03C6512148B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711118" y="5929679"/>
                  <a:ext cx="287164" cy="22029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2B80A50-2945-4C7C-9CE1-CC1FD790C24F}"/>
              </a:ext>
            </a:extLst>
          </p:cNvPr>
          <p:cNvGrpSpPr/>
          <p:nvPr/>
        </p:nvGrpSpPr>
        <p:grpSpPr>
          <a:xfrm>
            <a:off x="4054880" y="386438"/>
            <a:ext cx="4076608" cy="1317807"/>
            <a:chOff x="4054880" y="386438"/>
            <a:chExt cx="4076608" cy="1317807"/>
          </a:xfrm>
        </p:grpSpPr>
        <p:sp>
          <p:nvSpPr>
            <p:cNvPr id="220" name="Data">
              <a:extLst>
                <a:ext uri="{FF2B5EF4-FFF2-40B4-BE49-F238E27FC236}">
                  <a16:creationId xmlns:a16="http://schemas.microsoft.com/office/drawing/2014/main" id="{3AE50C81-6A3F-400E-98A5-B88EB97C4C51}"/>
                </a:ext>
              </a:extLst>
            </p:cNvPr>
            <p:cNvSpPr txBox="1"/>
            <p:nvPr/>
          </p:nvSpPr>
          <p:spPr>
            <a:xfrm>
              <a:off x="4920062" y="386438"/>
              <a:ext cx="2351878" cy="932456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Up">
                <a:avLst>
                  <a:gd name="adj" fmla="val 11974182"/>
                </a:avLst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 dirty="0">
                  <a:ln>
                    <a:noFill/>
                  </a:ln>
                  <a:solidFill>
                    <a:srgbClr val="56545B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Microsoft 365</a:t>
              </a:r>
            </a:p>
          </p:txBody>
        </p: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F016682A-521E-47BF-AB88-4C89B360410E}"/>
                </a:ext>
              </a:extLst>
            </p:cNvPr>
            <p:cNvGrpSpPr/>
            <p:nvPr/>
          </p:nvGrpSpPr>
          <p:grpSpPr>
            <a:xfrm>
              <a:off x="4054880" y="525450"/>
              <a:ext cx="4076608" cy="1178795"/>
              <a:chOff x="4054880" y="525450"/>
              <a:chExt cx="4076608" cy="1178795"/>
            </a:xfrm>
          </p:grpSpPr>
          <p:sp>
            <p:nvSpPr>
              <p:cNvPr id="222" name="Arc 107">
                <a:extLst>
                  <a:ext uri="{FF2B5EF4-FFF2-40B4-BE49-F238E27FC236}">
                    <a16:creationId xmlns:a16="http://schemas.microsoft.com/office/drawing/2014/main" id="{4279593E-9A99-40EE-B70B-455795C38B71}"/>
                  </a:ext>
                </a:extLst>
              </p:cNvPr>
              <p:cNvSpPr/>
              <p:nvPr/>
            </p:nvSpPr>
            <p:spPr>
              <a:xfrm>
                <a:off x="4054880" y="756744"/>
                <a:ext cx="4076608" cy="947501"/>
              </a:xfrm>
              <a:custGeom>
                <a:avLst/>
                <a:gdLst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3" fmla="*/ 2672256 w 5344512"/>
                  <a:gd name="connsiteY3" fmla="*/ 2672255 h 5344510"/>
                  <a:gd name="connsiteX4" fmla="*/ 631136 w 5344512"/>
                  <a:gd name="connsiteY4" fmla="*/ 947501 h 5344510"/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0" fmla="*/ 2041120 w 4076608"/>
                  <a:gd name="connsiteY0" fmla="*/ 2672255 h 2763695"/>
                  <a:gd name="connsiteX1" fmla="*/ 0 w 4076608"/>
                  <a:gd name="connsiteY1" fmla="*/ 947501 h 2763695"/>
                  <a:gd name="connsiteX2" fmla="*/ 2036765 w 4076608"/>
                  <a:gd name="connsiteY2" fmla="*/ 4 h 2763695"/>
                  <a:gd name="connsiteX3" fmla="*/ 4076608 w 4076608"/>
                  <a:gd name="connsiteY3" fmla="*/ 940857 h 2763695"/>
                  <a:gd name="connsiteX4" fmla="*/ 2132560 w 4076608"/>
                  <a:gd name="connsiteY4" fmla="*/ 2763695 h 2763695"/>
                  <a:gd name="connsiteX0" fmla="*/ 0 w 4076608"/>
                  <a:gd name="connsiteY0" fmla="*/ 947501 h 2763695"/>
                  <a:gd name="connsiteX1" fmla="*/ 2036765 w 4076608"/>
                  <a:gd name="connsiteY1" fmla="*/ 4 h 2763695"/>
                  <a:gd name="connsiteX2" fmla="*/ 4076608 w 4076608"/>
                  <a:gd name="connsiteY2" fmla="*/ 940857 h 2763695"/>
                  <a:gd name="connsiteX0" fmla="*/ 2041120 w 4076608"/>
                  <a:gd name="connsiteY0" fmla="*/ 2672255 h 2672255"/>
                  <a:gd name="connsiteX1" fmla="*/ 0 w 4076608"/>
                  <a:gd name="connsiteY1" fmla="*/ 947501 h 2672255"/>
                  <a:gd name="connsiteX2" fmla="*/ 2036765 w 4076608"/>
                  <a:gd name="connsiteY2" fmla="*/ 4 h 2672255"/>
                  <a:gd name="connsiteX3" fmla="*/ 4076608 w 4076608"/>
                  <a:gd name="connsiteY3" fmla="*/ 940857 h 2672255"/>
                  <a:gd name="connsiteX0" fmla="*/ 0 w 4076608"/>
                  <a:gd name="connsiteY0" fmla="*/ 947501 h 2672255"/>
                  <a:gd name="connsiteX1" fmla="*/ 2036765 w 4076608"/>
                  <a:gd name="connsiteY1" fmla="*/ 4 h 2672255"/>
                  <a:gd name="connsiteX2" fmla="*/ 4076608 w 4076608"/>
                  <a:gd name="connsiteY2" fmla="*/ 940857 h 2672255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76608" h="947501" stroke="0" extrusionOk="0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  <a:path w="4076608" h="947501" fill="none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</a:pathLst>
              </a:custGeom>
              <a:noFill/>
              <a:ln w="12700" cap="rnd" cmpd="sng" algn="ctr">
                <a:solidFill>
                  <a:schemeClr val="tx2"/>
                </a:solidFill>
                <a:prstDash val="sysDash"/>
                <a:headEnd type="oval" w="sm" len="sm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8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23" name="Group 222">
                <a:extLst>
                  <a:ext uri="{FF2B5EF4-FFF2-40B4-BE49-F238E27FC236}">
                    <a16:creationId xmlns:a16="http://schemas.microsoft.com/office/drawing/2014/main" id="{E132D351-9902-41E4-A265-E85A8AD88B52}"/>
                  </a:ext>
                </a:extLst>
              </p:cNvPr>
              <p:cNvGrpSpPr/>
              <p:nvPr/>
            </p:nvGrpSpPr>
            <p:grpSpPr>
              <a:xfrm>
                <a:off x="4373619" y="1007481"/>
                <a:ext cx="440917" cy="440917"/>
                <a:chOff x="4373619" y="1007481"/>
                <a:chExt cx="440917" cy="440917"/>
              </a:xfrm>
            </p:grpSpPr>
            <p:sp>
              <p:nvSpPr>
                <p:cNvPr id="230" name="Oval 229">
                  <a:extLst>
                    <a:ext uri="{FF2B5EF4-FFF2-40B4-BE49-F238E27FC236}">
                      <a16:creationId xmlns:a16="http://schemas.microsoft.com/office/drawing/2014/main" id="{55767FE8-D984-4D82-8813-66BD11988DC9}"/>
                    </a:ext>
                  </a:extLst>
                </p:cNvPr>
                <p:cNvSpPr/>
                <p:nvPr/>
              </p:nvSpPr>
              <p:spPr>
                <a:xfrm>
                  <a:off x="4373619" y="1007481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31" name="Picture 2" descr="Image result for sharepoint logo">
                  <a:extLst>
                    <a:ext uri="{FF2B5EF4-FFF2-40B4-BE49-F238E27FC236}">
                      <a16:creationId xmlns:a16="http://schemas.microsoft.com/office/drawing/2014/main" id="{DA24747B-05F3-4ADC-A9A5-1BAF17545D9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21216" t="22235" r="21216" b="22235"/>
                <a:stretch/>
              </p:blipFill>
              <p:spPr bwMode="auto">
                <a:xfrm>
                  <a:off x="4460305" y="1098904"/>
                  <a:ext cx="267546" cy="25807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24" name="Group 223">
                <a:extLst>
                  <a:ext uri="{FF2B5EF4-FFF2-40B4-BE49-F238E27FC236}">
                    <a16:creationId xmlns:a16="http://schemas.microsoft.com/office/drawing/2014/main" id="{60E857C1-1E39-4234-B8E8-1B43C71DFAC4}"/>
                  </a:ext>
                </a:extLst>
              </p:cNvPr>
              <p:cNvGrpSpPr/>
              <p:nvPr/>
            </p:nvGrpSpPr>
            <p:grpSpPr>
              <a:xfrm>
                <a:off x="7404519" y="1007481"/>
                <a:ext cx="440917" cy="440917"/>
                <a:chOff x="7404519" y="1007481"/>
                <a:chExt cx="440917" cy="440917"/>
              </a:xfrm>
            </p:grpSpPr>
            <p:sp>
              <p:nvSpPr>
                <p:cNvPr id="228" name="Oval 227">
                  <a:extLst>
                    <a:ext uri="{FF2B5EF4-FFF2-40B4-BE49-F238E27FC236}">
                      <a16:creationId xmlns:a16="http://schemas.microsoft.com/office/drawing/2014/main" id="{8CD3A9B8-A87C-454E-85FB-A85F0C201E00}"/>
                    </a:ext>
                  </a:extLst>
                </p:cNvPr>
                <p:cNvSpPr/>
                <p:nvPr/>
              </p:nvSpPr>
              <p:spPr>
                <a:xfrm>
                  <a:off x="7404519" y="1007481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29" name="Picture 6" descr="Image result for MS team logo">
                  <a:extLst>
                    <a:ext uri="{FF2B5EF4-FFF2-40B4-BE49-F238E27FC236}">
                      <a16:creationId xmlns:a16="http://schemas.microsoft.com/office/drawing/2014/main" id="{89CFE835-9D54-4731-ACA7-99AEF301590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97132" y="1101791"/>
                  <a:ext cx="255691" cy="2522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25" name="Group 224">
                <a:extLst>
                  <a:ext uri="{FF2B5EF4-FFF2-40B4-BE49-F238E27FC236}">
                    <a16:creationId xmlns:a16="http://schemas.microsoft.com/office/drawing/2014/main" id="{55236F22-61BE-4280-8097-0710D99FA999}"/>
                  </a:ext>
                </a:extLst>
              </p:cNvPr>
              <p:cNvGrpSpPr/>
              <p:nvPr/>
            </p:nvGrpSpPr>
            <p:grpSpPr>
              <a:xfrm>
                <a:off x="5825190" y="525450"/>
                <a:ext cx="440917" cy="440917"/>
                <a:chOff x="5825190" y="525450"/>
                <a:chExt cx="440917" cy="440917"/>
              </a:xfrm>
            </p:grpSpPr>
            <p:sp>
              <p:nvSpPr>
                <p:cNvPr id="226" name="Oval 225">
                  <a:extLst>
                    <a:ext uri="{FF2B5EF4-FFF2-40B4-BE49-F238E27FC236}">
                      <a16:creationId xmlns:a16="http://schemas.microsoft.com/office/drawing/2014/main" id="{8015FF6F-2785-423D-8BEB-0C3694D21E80}"/>
                    </a:ext>
                  </a:extLst>
                </p:cNvPr>
                <p:cNvSpPr/>
                <p:nvPr/>
              </p:nvSpPr>
              <p:spPr>
                <a:xfrm>
                  <a:off x="5825190" y="525450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27" name="Picture 4" descr="Image result for office 365 logo">
                  <a:extLst>
                    <a:ext uri="{FF2B5EF4-FFF2-40B4-BE49-F238E27FC236}">
                      <a16:creationId xmlns:a16="http://schemas.microsoft.com/office/drawing/2014/main" id="{997CE55C-CB93-49E8-B8B3-8B3AA5C9D01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32489" t="26284" r="32489" b="24121"/>
                <a:stretch/>
              </p:blipFill>
              <p:spPr bwMode="auto">
                <a:xfrm>
                  <a:off x="5920244" y="612799"/>
                  <a:ext cx="250808" cy="26621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id="{EE1939BB-DB1F-408D-8BF9-2F9C700EEC13}"/>
              </a:ext>
            </a:extLst>
          </p:cNvPr>
          <p:cNvSpPr txBox="1"/>
          <p:nvPr/>
        </p:nvSpPr>
        <p:spPr>
          <a:xfrm>
            <a:off x="822593" y="3513457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Transformed experiences</a:t>
            </a:r>
          </a:p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 across, mobile, social,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mixed reality, and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modular applications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6545B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44C10E4E-16A6-4D57-8C72-17393436D59F}"/>
              </a:ext>
            </a:extLst>
          </p:cNvPr>
          <p:cNvSpPr txBox="1"/>
          <p:nvPr/>
        </p:nvSpPr>
        <p:spPr>
          <a:xfrm>
            <a:off x="2271830" y="3519336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Flexible, scalable 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Trusted Microsoft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cloud and security 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01458BAC-B1BA-43EB-90D9-FF25F94D5BD1}"/>
              </a:ext>
            </a:extLst>
          </p:cNvPr>
          <p:cNvSpPr txBox="1"/>
          <p:nvPr/>
        </p:nvSpPr>
        <p:spPr>
          <a:xfrm>
            <a:off x="8642357" y="3495957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Unified and intelligent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data and processes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Rapid deployment, onboarding, and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quicker time to value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Recognized as an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industry leader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4DCEAD5F-38B0-46D3-B57F-C5C3714D9273}"/>
              </a:ext>
            </a:extLst>
          </p:cNvPr>
          <p:cNvSpPr txBox="1"/>
          <p:nvPr/>
        </p:nvSpPr>
        <p:spPr>
          <a:xfrm>
            <a:off x="10049731" y="3495957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  <a:t>Continued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  <a:t>featur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investmen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2A3F3EE5-CE31-4314-A612-349531EBE304}"/>
              </a:ext>
            </a:extLst>
          </p:cNvPr>
          <p:cNvGrpSpPr/>
          <p:nvPr/>
        </p:nvGrpSpPr>
        <p:grpSpPr>
          <a:xfrm>
            <a:off x="520700" y="285167"/>
            <a:ext cx="2674633" cy="995698"/>
            <a:chOff x="520700" y="475648"/>
            <a:chExt cx="2674633" cy="995698"/>
          </a:xfrm>
        </p:grpSpPr>
        <p:sp>
          <p:nvSpPr>
            <p:cNvPr id="238" name="Text Placeholder 6">
              <a:extLst>
                <a:ext uri="{FF2B5EF4-FFF2-40B4-BE49-F238E27FC236}">
                  <a16:creationId xmlns:a16="http://schemas.microsoft.com/office/drawing/2014/main" id="{2683C1F8-599A-4F42-8AA9-603078BD1156}"/>
                </a:ext>
              </a:extLst>
            </p:cNvPr>
            <p:cNvSpPr txBox="1">
              <a:spLocks/>
            </p:cNvSpPr>
            <p:nvPr/>
          </p:nvSpPr>
          <p:spPr>
            <a:xfrm>
              <a:off x="529223" y="1105645"/>
              <a:ext cx="2666110" cy="365701"/>
            </a:xfrm>
            <a:prstGeom prst="rect">
              <a:avLst/>
            </a:prstGeom>
          </p:spPr>
          <p:txBody>
            <a:bodyPr vert="horz" wrap="square" lIns="0" tIns="89642" rIns="143428" bIns="89642" rtlCol="0">
              <a:spAutoFit/>
            </a:bodyPr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800" kern="1200" spc="0" baseline="0">
                  <a:gradFill>
                    <a:gsLst>
                      <a:gs pos="2917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800" kern="1200" spc="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200" b="1" kern="1200" spc="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200" kern="120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-50" normalizeH="0" baseline="0" noProof="0" dirty="0">
                  <a:ln>
                    <a:noFill/>
                  </a:ln>
                  <a:solidFill>
                    <a:srgbClr val="56545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lligent business applications in the cloud</a:t>
              </a:r>
            </a:p>
          </p:txBody>
        </p:sp>
        <p:pic>
          <p:nvPicPr>
            <p:cNvPr id="239" name="Picture 238">
              <a:extLst>
                <a:ext uri="{FF2B5EF4-FFF2-40B4-BE49-F238E27FC236}">
                  <a16:creationId xmlns:a16="http://schemas.microsoft.com/office/drawing/2014/main" id="{F46E6547-8B3A-49EE-B79C-5F26AF59C2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0700" y="475648"/>
              <a:ext cx="2519482" cy="628703"/>
            </a:xfrm>
            <a:prstGeom prst="rect">
              <a:avLst/>
            </a:prstGeom>
          </p:spPr>
        </p:pic>
      </p:grp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BBCD7EC1-5A0D-423C-9CD3-77C0967DACB2}"/>
              </a:ext>
            </a:extLst>
          </p:cNvPr>
          <p:cNvCxnSpPr>
            <a:cxnSpLocks/>
            <a:endCxn id="122" idx="1"/>
          </p:cNvCxnSpPr>
          <p:nvPr/>
        </p:nvCxnSpPr>
        <p:spPr>
          <a:xfrm>
            <a:off x="469658" y="3429000"/>
            <a:ext cx="490095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oval" w="sm" len="sm"/>
            <a:tailEnd type="none" w="sm" len="sm"/>
          </a:ln>
          <a:effectLst/>
        </p:spPr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3F73DB8B-5FE4-4E88-8421-76D15CD2D53C}"/>
              </a:ext>
            </a:extLst>
          </p:cNvPr>
          <p:cNvCxnSpPr>
            <a:cxnSpLocks/>
            <a:stCxn id="122" idx="3"/>
            <a:endCxn id="126" idx="1"/>
          </p:cNvCxnSpPr>
          <p:nvPr/>
        </p:nvCxnSpPr>
        <p:spPr>
          <a:xfrm>
            <a:off x="1965593" y="3429000"/>
            <a:ext cx="443397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B567C0B4-5CC6-4A0F-9167-77005E9F347A}"/>
              </a:ext>
            </a:extLst>
          </p:cNvPr>
          <p:cNvCxnSpPr>
            <a:cxnSpLocks/>
            <a:stCxn id="126" idx="3"/>
            <a:endCxn id="151" idx="2"/>
          </p:cNvCxnSpPr>
          <p:nvPr/>
        </p:nvCxnSpPr>
        <p:spPr>
          <a:xfrm>
            <a:off x="3414830" y="3429000"/>
            <a:ext cx="866359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D68D1B0D-81DA-459F-A709-158609EB4B28}"/>
              </a:ext>
            </a:extLst>
          </p:cNvPr>
          <p:cNvCxnSpPr>
            <a:cxnSpLocks/>
            <a:stCxn id="151" idx="6"/>
            <a:endCxn id="129" idx="1"/>
          </p:cNvCxnSpPr>
          <p:nvPr/>
        </p:nvCxnSpPr>
        <p:spPr>
          <a:xfrm>
            <a:off x="7910807" y="3429000"/>
            <a:ext cx="810538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6687680B-29DA-46AD-A79C-C8BCCEADBAE7}"/>
              </a:ext>
            </a:extLst>
          </p:cNvPr>
          <p:cNvCxnSpPr>
            <a:cxnSpLocks/>
            <a:stCxn id="129" idx="3"/>
            <a:endCxn id="130" idx="1"/>
          </p:cNvCxnSpPr>
          <p:nvPr/>
        </p:nvCxnSpPr>
        <p:spPr>
          <a:xfrm>
            <a:off x="9843529" y="3429000"/>
            <a:ext cx="303771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sp>
        <p:nvSpPr>
          <p:cNvPr id="103" name="Oval 102">
            <a:extLst>
              <a:ext uri="{FF2B5EF4-FFF2-40B4-BE49-F238E27FC236}">
                <a16:creationId xmlns:a16="http://schemas.microsoft.com/office/drawing/2014/main" id="{C7E396B9-B40F-4203-A777-C728C35C7D21}"/>
              </a:ext>
            </a:extLst>
          </p:cNvPr>
          <p:cNvSpPr/>
          <p:nvPr/>
        </p:nvSpPr>
        <p:spPr>
          <a:xfrm>
            <a:off x="7570012" y="5346256"/>
            <a:ext cx="440917" cy="440917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" name="Picture 2" descr="Power Virtual Agents | Encore Business Solutions">
            <a:extLst>
              <a:ext uri="{FF2B5EF4-FFF2-40B4-BE49-F238E27FC236}">
                <a16:creationId xmlns:a16="http://schemas.microsoft.com/office/drawing/2014/main" id="{6A359DD3-FD34-46B7-9954-8AFFB0C3B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793" y="5399066"/>
            <a:ext cx="357143" cy="357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 descr="Download Microsoft Azure (Windows Azure) Logo in SVG Vector or PNG File  Format - Logo.wine">
            <a:extLst>
              <a:ext uri="{FF2B5EF4-FFF2-40B4-BE49-F238E27FC236}">
                <a16:creationId xmlns:a16="http://schemas.microsoft.com/office/drawing/2014/main" id="{2E0D653F-CD2F-47C4-ABCD-9D82C87F9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904" y="5329906"/>
            <a:ext cx="2065811" cy="1377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871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3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0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36E-6 -3.89015E-6 L 0.03676 -3.89015E-6 " pathEditMode="relative" rAng="0" ptsTypes="AA">
                                      <p:cBhvr>
                                        <p:cTn id="74" dur="500" spd="-10000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8" y="0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4.47536E-6 -5.5833E-7 L 0.03677 -5.5833E-7 " pathEditMode="relative" rAng="0" ptsTypes="AA">
                                      <p:cBhvr>
                                        <p:cTn id="79" dur="500" spd="-1000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8" y="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1.33265E-6 4.74353E-6 L -0.03676 4.74353E-6 " pathEditMode="relative" rAng="0" ptsTypes="AA">
                                      <p:cBhvr>
                                        <p:cTn id="84" dur="500" spd="-1000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8" y="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8047E-6 4.29414E-6 L -0.03677 4.29414E-6 " pathEditMode="relative" rAng="0" ptsTypes="AA">
                                      <p:cBhvr>
                                        <p:cTn id="89" dur="500" spd="-1000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3300"/>
                            </p:stCondLst>
                            <p:childTnLst>
                              <p:par>
                                <p:cTn id="91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3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3800"/>
                            </p:stCondLst>
                            <p:childTnLst>
                              <p:par>
                                <p:cTn id="9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7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4300"/>
                            </p:stCondLst>
                            <p:childTnLst>
                              <p:par>
                                <p:cTn id="9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1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4800"/>
                            </p:stCondLst>
                            <p:childTnLst>
                              <p:par>
                                <p:cTn id="103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5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300"/>
                            </p:stCondLst>
                            <p:childTnLst>
                              <p:par>
                                <p:cTn id="107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9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 animBg="1"/>
      <p:bldP spid="126" grpId="0" animBg="1"/>
      <p:bldP spid="129" grpId="0" animBg="1"/>
      <p:bldP spid="130" grpId="0" animBg="1"/>
      <p:bldP spid="233" grpId="0"/>
      <p:bldP spid="233" grpId="1"/>
      <p:bldP spid="234" grpId="0"/>
      <p:bldP spid="234" grpId="1"/>
      <p:bldP spid="235" grpId="0"/>
      <p:bldP spid="235" grpId="1"/>
      <p:bldP spid="236" grpId="0"/>
      <p:bldP spid="236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TextBox 121">
            <a:extLst>
              <a:ext uri="{FF2B5EF4-FFF2-40B4-BE49-F238E27FC236}">
                <a16:creationId xmlns:a16="http://schemas.microsoft.com/office/drawing/2014/main" id="{24C52C38-169E-4082-990C-2BC68A881FD1}"/>
              </a:ext>
            </a:extLst>
          </p:cNvPr>
          <p:cNvSpPr txBox="1"/>
          <p:nvPr/>
        </p:nvSpPr>
        <p:spPr>
          <a:xfrm>
            <a:off x="959753" y="3216488"/>
            <a:ext cx="1005840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rn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DF5DAE2B-890C-4FDD-B69B-A7CBA2F6752D}"/>
              </a:ext>
            </a:extLst>
          </p:cNvPr>
          <p:cNvSpPr txBox="1"/>
          <p:nvPr/>
        </p:nvSpPr>
        <p:spPr>
          <a:xfrm>
            <a:off x="2408990" y="3216488"/>
            <a:ext cx="1005840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fi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0046C321-A98A-4886-9A3D-7D333E5C8540}"/>
              </a:ext>
            </a:extLst>
          </p:cNvPr>
          <p:cNvSpPr txBox="1"/>
          <p:nvPr/>
        </p:nvSpPr>
        <p:spPr>
          <a:xfrm>
            <a:off x="8721345" y="3216488"/>
            <a:ext cx="1122184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lligent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4F6E19B-7C0A-4BB3-96BC-7D735CA1909C}"/>
              </a:ext>
            </a:extLst>
          </p:cNvPr>
          <p:cNvSpPr txBox="1"/>
          <p:nvPr/>
        </p:nvSpPr>
        <p:spPr>
          <a:xfrm>
            <a:off x="10147300" y="3216488"/>
            <a:ext cx="1084759" cy="425024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aptable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321078FE-EACB-4623-A9AD-1E6BE0DDABA0}"/>
              </a:ext>
            </a:extLst>
          </p:cNvPr>
          <p:cNvCxnSpPr>
            <a:cxnSpLocks/>
            <a:stCxn id="130" idx="3"/>
          </p:cNvCxnSpPr>
          <p:nvPr/>
        </p:nvCxnSpPr>
        <p:spPr>
          <a:xfrm>
            <a:off x="11232059" y="3429000"/>
            <a:ext cx="501941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oval" w="sm" len="sm"/>
          </a:ln>
          <a:effectLst/>
        </p:spPr>
      </p:cxn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7698D898-A624-4518-BE99-915E2B8D27D0}"/>
              </a:ext>
            </a:extLst>
          </p:cNvPr>
          <p:cNvGrpSpPr/>
          <p:nvPr/>
        </p:nvGrpSpPr>
        <p:grpSpPr>
          <a:xfrm>
            <a:off x="3820547" y="1143001"/>
            <a:ext cx="4550906" cy="4572000"/>
            <a:chOff x="3820547" y="1143001"/>
            <a:chExt cx="4550906" cy="4572000"/>
          </a:xfrm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D691CFCE-6E84-4FC0-B4C7-97A061A7B7CD}"/>
                </a:ext>
              </a:extLst>
            </p:cNvPr>
            <p:cNvSpPr/>
            <p:nvPr/>
          </p:nvSpPr>
          <p:spPr>
            <a:xfrm>
              <a:off x="3820547" y="1143001"/>
              <a:ext cx="4550906" cy="2077082"/>
            </a:xfrm>
            <a:custGeom>
              <a:avLst/>
              <a:gdLst>
                <a:gd name="connsiteX0" fmla="*/ 2514518 w 5029037"/>
                <a:gd name="connsiteY0" fmla="*/ 0 h 2295307"/>
                <a:gd name="connsiteX1" fmla="*/ 5027652 w 5029037"/>
                <a:gd name="connsiteY1" fmla="*/ 2267888 h 2295307"/>
                <a:gd name="connsiteX2" fmla="*/ 5029037 w 5029037"/>
                <a:gd name="connsiteY2" fmla="*/ 2295307 h 2295307"/>
                <a:gd name="connsiteX3" fmla="*/ 0 w 5029037"/>
                <a:gd name="connsiteY3" fmla="*/ 2295307 h 2295307"/>
                <a:gd name="connsiteX4" fmla="*/ 1384 w 5029037"/>
                <a:gd name="connsiteY4" fmla="*/ 2267888 h 2295307"/>
                <a:gd name="connsiteX5" fmla="*/ 2514518 w 5029037"/>
                <a:gd name="connsiteY5" fmla="*/ 0 h 229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29037" h="2295307">
                  <a:moveTo>
                    <a:pt x="2514518" y="0"/>
                  </a:moveTo>
                  <a:cubicBezTo>
                    <a:pt x="3822488" y="0"/>
                    <a:pt x="4898286" y="994049"/>
                    <a:pt x="5027652" y="2267888"/>
                  </a:cubicBezTo>
                  <a:lnTo>
                    <a:pt x="5029037" y="2295307"/>
                  </a:lnTo>
                  <a:lnTo>
                    <a:pt x="0" y="2295307"/>
                  </a:lnTo>
                  <a:lnTo>
                    <a:pt x="1384" y="2267888"/>
                  </a:lnTo>
                  <a:cubicBezTo>
                    <a:pt x="130750" y="994049"/>
                    <a:pt x="1206548" y="0"/>
                    <a:pt x="251451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C801B937-3C41-4DBF-8218-06E80773C42A}"/>
                </a:ext>
              </a:extLst>
            </p:cNvPr>
            <p:cNvSpPr/>
            <p:nvPr/>
          </p:nvSpPr>
          <p:spPr>
            <a:xfrm>
              <a:off x="3820547" y="3637920"/>
              <a:ext cx="4550905" cy="2077081"/>
            </a:xfrm>
            <a:custGeom>
              <a:avLst/>
              <a:gdLst>
                <a:gd name="connsiteX0" fmla="*/ 0 w 5029036"/>
                <a:gd name="connsiteY0" fmla="*/ 0 h 2295306"/>
                <a:gd name="connsiteX1" fmla="*/ 5029036 w 5029036"/>
                <a:gd name="connsiteY1" fmla="*/ 0 h 2295306"/>
                <a:gd name="connsiteX2" fmla="*/ 5027652 w 5029036"/>
                <a:gd name="connsiteY2" fmla="*/ 27418 h 2295306"/>
                <a:gd name="connsiteX3" fmla="*/ 2514518 w 5029036"/>
                <a:gd name="connsiteY3" fmla="*/ 2295306 h 2295306"/>
                <a:gd name="connsiteX4" fmla="*/ 1384 w 5029036"/>
                <a:gd name="connsiteY4" fmla="*/ 27418 h 2295306"/>
                <a:gd name="connsiteX5" fmla="*/ 0 w 5029036"/>
                <a:gd name="connsiteY5" fmla="*/ 0 h 229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29036" h="2295306">
                  <a:moveTo>
                    <a:pt x="0" y="0"/>
                  </a:moveTo>
                  <a:lnTo>
                    <a:pt x="5029036" y="0"/>
                  </a:lnTo>
                  <a:lnTo>
                    <a:pt x="5027652" y="27418"/>
                  </a:lnTo>
                  <a:cubicBezTo>
                    <a:pt x="4898286" y="1301257"/>
                    <a:pt x="3822488" y="2295306"/>
                    <a:pt x="2514518" y="2295306"/>
                  </a:cubicBezTo>
                  <a:cubicBezTo>
                    <a:pt x="1206548" y="2295306"/>
                    <a:pt x="130750" y="1301257"/>
                    <a:pt x="1384" y="274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51" name="Oval 150">
            <a:extLst>
              <a:ext uri="{FF2B5EF4-FFF2-40B4-BE49-F238E27FC236}">
                <a16:creationId xmlns:a16="http://schemas.microsoft.com/office/drawing/2014/main" id="{1A955C8E-950A-4817-A1AC-B7DD323E882B}"/>
              </a:ext>
            </a:extLst>
          </p:cNvPr>
          <p:cNvSpPr/>
          <p:nvPr/>
        </p:nvSpPr>
        <p:spPr>
          <a:xfrm>
            <a:off x="4281189" y="1614194"/>
            <a:ext cx="3629618" cy="3629612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E664F76-53A3-4138-8BD6-78C03EF6411D}"/>
              </a:ext>
            </a:extLst>
          </p:cNvPr>
          <p:cNvSpPr/>
          <p:nvPr/>
        </p:nvSpPr>
        <p:spPr>
          <a:xfrm>
            <a:off x="5135940" y="2468931"/>
            <a:ext cx="1920141" cy="1920133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>
            <a:outerShdw blurRad="381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1B3E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96BA6927-C417-43A3-BE8A-3D12D7FEB1BE}"/>
              </a:ext>
            </a:extLst>
          </p:cNvPr>
          <p:cNvGrpSpPr/>
          <p:nvPr/>
        </p:nvGrpSpPr>
        <p:grpSpPr>
          <a:xfrm>
            <a:off x="4104174" y="1403291"/>
            <a:ext cx="4051420" cy="4051418"/>
            <a:chOff x="4104174" y="1403291"/>
            <a:chExt cx="4051420" cy="4051418"/>
          </a:xfrm>
        </p:grpSpPr>
        <p:sp>
          <p:nvSpPr>
            <p:cNvPr id="155" name="Arc 154">
              <a:extLst>
                <a:ext uri="{FF2B5EF4-FFF2-40B4-BE49-F238E27FC236}">
                  <a16:creationId xmlns:a16="http://schemas.microsoft.com/office/drawing/2014/main" id="{B02DB502-C894-4FC7-A780-2BDE58B6C91B}"/>
                </a:ext>
              </a:extLst>
            </p:cNvPr>
            <p:cNvSpPr/>
            <p:nvPr/>
          </p:nvSpPr>
          <p:spPr>
            <a:xfrm>
              <a:off x="4104174" y="1403291"/>
              <a:ext cx="4051420" cy="4051418"/>
            </a:xfrm>
            <a:prstGeom prst="arc">
              <a:avLst>
                <a:gd name="adj1" fmla="val 11466286"/>
                <a:gd name="adj2" fmla="val 19176918"/>
              </a:avLst>
            </a:prstGeom>
            <a:ln w="22225" cap="rnd">
              <a:solidFill>
                <a:schemeClr val="bg1"/>
              </a:solidFill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Data">
              <a:extLst>
                <a:ext uri="{FF2B5EF4-FFF2-40B4-BE49-F238E27FC236}">
                  <a16:creationId xmlns:a16="http://schemas.microsoft.com/office/drawing/2014/main" id="{2D2F21C8-0C93-4427-B9D5-1E8878E85123}"/>
                </a:ext>
              </a:extLst>
            </p:cNvPr>
            <p:cNvSpPr txBox="1"/>
            <p:nvPr/>
          </p:nvSpPr>
          <p:spPr>
            <a:xfrm rot="3919874">
              <a:off x="7243625" y="2474741"/>
              <a:ext cx="917321" cy="525815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Data</a:t>
              </a: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0638A74F-EB01-429F-945D-089C536B47EE}"/>
              </a:ext>
            </a:extLst>
          </p:cNvPr>
          <p:cNvGrpSpPr/>
          <p:nvPr/>
        </p:nvGrpSpPr>
        <p:grpSpPr>
          <a:xfrm>
            <a:off x="4104174" y="1403291"/>
            <a:ext cx="4051420" cy="4054021"/>
            <a:chOff x="4104174" y="1403291"/>
            <a:chExt cx="4051420" cy="4054021"/>
          </a:xfrm>
        </p:grpSpPr>
        <p:sp>
          <p:nvSpPr>
            <p:cNvPr id="158" name="Data">
              <a:extLst>
                <a:ext uri="{FF2B5EF4-FFF2-40B4-BE49-F238E27FC236}">
                  <a16:creationId xmlns:a16="http://schemas.microsoft.com/office/drawing/2014/main" id="{6E5B9DC9-FBFF-4B78-9D10-556B23B7F409}"/>
                </a:ext>
              </a:extLst>
            </p:cNvPr>
            <p:cNvSpPr txBox="1"/>
            <p:nvPr/>
          </p:nvSpPr>
          <p:spPr>
            <a:xfrm rot="3125471">
              <a:off x="3806092" y="4158537"/>
              <a:ext cx="1893014" cy="704536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Intelligence </a:t>
              </a:r>
            </a:p>
          </p:txBody>
        </p:sp>
        <p:sp>
          <p:nvSpPr>
            <p:cNvPr id="160" name="Arc 159">
              <a:extLst>
                <a:ext uri="{FF2B5EF4-FFF2-40B4-BE49-F238E27FC236}">
                  <a16:creationId xmlns:a16="http://schemas.microsoft.com/office/drawing/2014/main" id="{32B85736-68C8-498C-A7BB-508DEB4C5576}"/>
                </a:ext>
              </a:extLst>
            </p:cNvPr>
            <p:cNvSpPr/>
            <p:nvPr/>
          </p:nvSpPr>
          <p:spPr>
            <a:xfrm>
              <a:off x="4104174" y="1403291"/>
              <a:ext cx="4051420" cy="4051418"/>
            </a:xfrm>
            <a:prstGeom prst="arc">
              <a:avLst>
                <a:gd name="adj1" fmla="val 768300"/>
                <a:gd name="adj2" fmla="val 6969694"/>
              </a:avLst>
            </a:prstGeom>
            <a:ln w="22225" cap="rnd">
              <a:solidFill>
                <a:schemeClr val="bg1"/>
              </a:solidFill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61" name="Picture 160">
            <a:extLst>
              <a:ext uri="{FF2B5EF4-FFF2-40B4-BE49-F238E27FC236}">
                <a16:creationId xmlns:a16="http://schemas.microsoft.com/office/drawing/2014/main" id="{B96727E4-AB4A-4D86-83C8-06F7EA60FD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1081" y="3346841"/>
            <a:ext cx="1629859" cy="164311"/>
          </a:xfrm>
          <a:prstGeom prst="rect">
            <a:avLst/>
          </a:prstGeom>
        </p:spPr>
      </p:pic>
      <p:grpSp>
        <p:nvGrpSpPr>
          <p:cNvPr id="162" name="Group 161">
            <a:extLst>
              <a:ext uri="{FF2B5EF4-FFF2-40B4-BE49-F238E27FC236}">
                <a16:creationId xmlns:a16="http://schemas.microsoft.com/office/drawing/2014/main" id="{0EA65D10-85F9-49C8-86A1-96B6EE8DC7BC}"/>
              </a:ext>
            </a:extLst>
          </p:cNvPr>
          <p:cNvGrpSpPr/>
          <p:nvPr/>
        </p:nvGrpSpPr>
        <p:grpSpPr>
          <a:xfrm>
            <a:off x="5888819" y="1779752"/>
            <a:ext cx="448649" cy="613553"/>
            <a:chOff x="5888819" y="1779752"/>
            <a:chExt cx="448649" cy="613553"/>
          </a:xfrm>
        </p:grpSpPr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BF9D0B53-BA49-4614-B06D-E4E60AA94FC1}"/>
                </a:ext>
              </a:extLst>
            </p:cNvPr>
            <p:cNvSpPr txBox="1"/>
            <p:nvPr/>
          </p:nvSpPr>
          <p:spPr>
            <a:xfrm>
              <a:off x="5888819" y="2208639"/>
              <a:ext cx="44864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</a:t>
              </a:r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13EE72BE-C993-4A09-83FC-B5C627C6579A}"/>
                </a:ext>
              </a:extLst>
            </p:cNvPr>
            <p:cNvGrpSpPr/>
            <p:nvPr/>
          </p:nvGrpSpPr>
          <p:grpSpPr>
            <a:xfrm>
              <a:off x="5945571" y="1779752"/>
              <a:ext cx="300854" cy="374648"/>
              <a:chOff x="4987634" y="114862"/>
              <a:chExt cx="332511" cy="414069"/>
            </a:xfrm>
            <a:solidFill>
              <a:schemeClr val="bg1"/>
            </a:solidFill>
          </p:grpSpPr>
          <p:grpSp>
            <p:nvGrpSpPr>
              <p:cNvPr id="165" name="Group 89">
                <a:extLst>
                  <a:ext uri="{FF2B5EF4-FFF2-40B4-BE49-F238E27FC236}">
                    <a16:creationId xmlns:a16="http://schemas.microsoft.com/office/drawing/2014/main" id="{64EF4159-6343-4C2F-A6AE-2DD8B22020F6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87634" y="114862"/>
                <a:ext cx="332511" cy="414069"/>
                <a:chOff x="1596" y="1479"/>
                <a:chExt cx="159" cy="198"/>
              </a:xfrm>
              <a:grpFill/>
            </p:grpSpPr>
            <p:sp>
              <p:nvSpPr>
                <p:cNvPr id="169" name="Freeform 90">
                  <a:extLst>
                    <a:ext uri="{FF2B5EF4-FFF2-40B4-BE49-F238E27FC236}">
                      <a16:creationId xmlns:a16="http://schemas.microsoft.com/office/drawing/2014/main" id="{4EB877E4-23B5-4AEF-BC9B-1E50F830E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2" y="1479"/>
                  <a:ext cx="106" cy="106"/>
                </a:xfrm>
                <a:custGeom>
                  <a:avLst/>
                  <a:gdLst>
                    <a:gd name="T0" fmla="*/ 85 w 170"/>
                    <a:gd name="T1" fmla="*/ 170 h 170"/>
                    <a:gd name="T2" fmla="*/ 85 w 170"/>
                    <a:gd name="T3" fmla="*/ 170 h 170"/>
                    <a:gd name="T4" fmla="*/ 170 w 170"/>
                    <a:gd name="T5" fmla="*/ 85 h 170"/>
                    <a:gd name="T6" fmla="*/ 120 w 170"/>
                    <a:gd name="T7" fmla="*/ 7 h 170"/>
                    <a:gd name="T8" fmla="*/ 85 w 170"/>
                    <a:gd name="T9" fmla="*/ 0 h 170"/>
                    <a:gd name="T10" fmla="*/ 50 w 170"/>
                    <a:gd name="T11" fmla="*/ 7 h 170"/>
                    <a:gd name="T12" fmla="*/ 0 w 170"/>
                    <a:gd name="T13" fmla="*/ 85 h 170"/>
                    <a:gd name="T14" fmla="*/ 85 w 170"/>
                    <a:gd name="T15" fmla="*/ 170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0" h="170">
                      <a:moveTo>
                        <a:pt x="85" y="170"/>
                      </a:moveTo>
                      <a:lnTo>
                        <a:pt x="85" y="170"/>
                      </a:lnTo>
                      <a:cubicBezTo>
                        <a:pt x="132" y="170"/>
                        <a:pt x="170" y="132"/>
                        <a:pt x="170" y="85"/>
                      </a:cubicBezTo>
                      <a:cubicBezTo>
                        <a:pt x="170" y="50"/>
                        <a:pt x="150" y="21"/>
                        <a:pt x="120" y="7"/>
                      </a:cubicBezTo>
                      <a:cubicBezTo>
                        <a:pt x="110" y="2"/>
                        <a:pt x="98" y="0"/>
                        <a:pt x="85" y="0"/>
                      </a:cubicBezTo>
                      <a:cubicBezTo>
                        <a:pt x="72" y="0"/>
                        <a:pt x="60" y="2"/>
                        <a:pt x="50" y="7"/>
                      </a:cubicBezTo>
                      <a:cubicBezTo>
                        <a:pt x="20" y="21"/>
                        <a:pt x="0" y="50"/>
                        <a:pt x="0" y="85"/>
                      </a:cubicBezTo>
                      <a:cubicBezTo>
                        <a:pt x="0" y="132"/>
                        <a:pt x="38" y="170"/>
                        <a:pt x="85" y="17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91">
                  <a:extLst>
                    <a:ext uri="{FF2B5EF4-FFF2-40B4-BE49-F238E27FC236}">
                      <a16:creationId xmlns:a16="http://schemas.microsoft.com/office/drawing/2014/main" id="{AD2E569B-5EA9-438D-9EF8-AC737ED9AD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6" y="1598"/>
                  <a:ext cx="159" cy="79"/>
                </a:xfrm>
                <a:custGeom>
                  <a:avLst/>
                  <a:gdLst>
                    <a:gd name="T0" fmla="*/ 128 w 256"/>
                    <a:gd name="T1" fmla="*/ 0 h 128"/>
                    <a:gd name="T2" fmla="*/ 128 w 256"/>
                    <a:gd name="T3" fmla="*/ 0 h 128"/>
                    <a:gd name="T4" fmla="*/ 0 w 256"/>
                    <a:gd name="T5" fmla="*/ 128 h 128"/>
                    <a:gd name="T6" fmla="*/ 256 w 256"/>
                    <a:gd name="T7" fmla="*/ 128 h 128"/>
                    <a:gd name="T8" fmla="*/ 128 w 256"/>
                    <a:gd name="T9" fmla="*/ 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6" h="128">
                      <a:moveTo>
                        <a:pt x="128" y="0"/>
                      </a:moveTo>
                      <a:lnTo>
                        <a:pt x="128" y="0"/>
                      </a:lnTo>
                      <a:cubicBezTo>
                        <a:pt x="57" y="0"/>
                        <a:pt x="0" y="57"/>
                        <a:pt x="0" y="128"/>
                      </a:cubicBezTo>
                      <a:lnTo>
                        <a:pt x="256" y="128"/>
                      </a:lnTo>
                      <a:cubicBezTo>
                        <a:pt x="256" y="57"/>
                        <a:pt x="199" y="0"/>
                        <a:pt x="128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" name="Group 177">
                <a:extLst>
                  <a:ext uri="{FF2B5EF4-FFF2-40B4-BE49-F238E27FC236}">
                    <a16:creationId xmlns:a16="http://schemas.microsoft.com/office/drawing/2014/main" id="{834F8298-46CF-41C6-8E52-F162724131F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95920" y="389416"/>
                <a:ext cx="126222" cy="126222"/>
                <a:chOff x="5878" y="2726"/>
                <a:chExt cx="256" cy="256"/>
              </a:xfrm>
              <a:grpFill/>
            </p:grpSpPr>
            <p:sp>
              <p:nvSpPr>
                <p:cNvPr id="167" name="AutoShape 176">
                  <a:extLst>
                    <a:ext uri="{FF2B5EF4-FFF2-40B4-BE49-F238E27FC236}">
                      <a16:creationId xmlns:a16="http://schemas.microsoft.com/office/drawing/2014/main" id="{CD51EC9C-7A2F-4D18-A6B6-075723DF6041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878" y="2726"/>
                  <a:ext cx="256" cy="256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178">
                  <a:extLst>
                    <a:ext uri="{FF2B5EF4-FFF2-40B4-BE49-F238E27FC236}">
                      <a16:creationId xmlns:a16="http://schemas.microsoft.com/office/drawing/2014/main" id="{DE08DE31-779E-4B47-9A32-5FA5C05405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8" y="2740"/>
                  <a:ext cx="264" cy="231"/>
                </a:xfrm>
                <a:custGeom>
                  <a:avLst/>
                  <a:gdLst>
                    <a:gd name="T0" fmla="*/ 33 w 425"/>
                    <a:gd name="T1" fmla="*/ 193 h 372"/>
                    <a:gd name="T2" fmla="*/ 33 w 425"/>
                    <a:gd name="T3" fmla="*/ 193 h 372"/>
                    <a:gd name="T4" fmla="*/ 213 w 425"/>
                    <a:gd name="T5" fmla="*/ 372 h 372"/>
                    <a:gd name="T6" fmla="*/ 392 w 425"/>
                    <a:gd name="T7" fmla="*/ 193 h 372"/>
                    <a:gd name="T8" fmla="*/ 417 w 425"/>
                    <a:gd name="T9" fmla="*/ 156 h 372"/>
                    <a:gd name="T10" fmla="*/ 425 w 425"/>
                    <a:gd name="T11" fmla="*/ 113 h 372"/>
                    <a:gd name="T12" fmla="*/ 416 w 425"/>
                    <a:gd name="T13" fmla="*/ 69 h 372"/>
                    <a:gd name="T14" fmla="*/ 392 w 425"/>
                    <a:gd name="T15" fmla="*/ 33 h 372"/>
                    <a:gd name="T16" fmla="*/ 356 w 425"/>
                    <a:gd name="T17" fmla="*/ 9 h 372"/>
                    <a:gd name="T18" fmla="*/ 312 w 425"/>
                    <a:gd name="T19" fmla="*/ 0 h 372"/>
                    <a:gd name="T20" fmla="*/ 282 w 425"/>
                    <a:gd name="T21" fmla="*/ 4 h 372"/>
                    <a:gd name="T22" fmla="*/ 257 w 425"/>
                    <a:gd name="T23" fmla="*/ 15 h 372"/>
                    <a:gd name="T24" fmla="*/ 235 w 425"/>
                    <a:gd name="T25" fmla="*/ 32 h 372"/>
                    <a:gd name="T26" fmla="*/ 213 w 425"/>
                    <a:gd name="T27" fmla="*/ 53 h 372"/>
                    <a:gd name="T28" fmla="*/ 191 w 425"/>
                    <a:gd name="T29" fmla="*/ 32 h 372"/>
                    <a:gd name="T30" fmla="*/ 169 w 425"/>
                    <a:gd name="T31" fmla="*/ 15 h 372"/>
                    <a:gd name="T32" fmla="*/ 144 w 425"/>
                    <a:gd name="T33" fmla="*/ 4 h 372"/>
                    <a:gd name="T34" fmla="*/ 113 w 425"/>
                    <a:gd name="T35" fmla="*/ 0 h 372"/>
                    <a:gd name="T36" fmla="*/ 69 w 425"/>
                    <a:gd name="T37" fmla="*/ 9 h 372"/>
                    <a:gd name="T38" fmla="*/ 33 w 425"/>
                    <a:gd name="T39" fmla="*/ 33 h 372"/>
                    <a:gd name="T40" fmla="*/ 9 w 425"/>
                    <a:gd name="T41" fmla="*/ 69 h 372"/>
                    <a:gd name="T42" fmla="*/ 0 w 425"/>
                    <a:gd name="T43" fmla="*/ 113 h 372"/>
                    <a:gd name="T44" fmla="*/ 9 w 425"/>
                    <a:gd name="T45" fmla="*/ 156 h 372"/>
                    <a:gd name="T46" fmla="*/ 33 w 425"/>
                    <a:gd name="T47" fmla="*/ 193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25" h="372">
                      <a:moveTo>
                        <a:pt x="33" y="193"/>
                      </a:moveTo>
                      <a:lnTo>
                        <a:pt x="33" y="193"/>
                      </a:lnTo>
                      <a:lnTo>
                        <a:pt x="213" y="372"/>
                      </a:lnTo>
                      <a:lnTo>
                        <a:pt x="392" y="193"/>
                      </a:lnTo>
                      <a:cubicBezTo>
                        <a:pt x="403" y="182"/>
                        <a:pt x="411" y="170"/>
                        <a:pt x="417" y="156"/>
                      </a:cubicBezTo>
                      <a:cubicBezTo>
                        <a:pt x="422" y="143"/>
                        <a:pt x="425" y="128"/>
                        <a:pt x="425" y="113"/>
                      </a:cubicBezTo>
                      <a:cubicBezTo>
                        <a:pt x="425" y="98"/>
                        <a:pt x="422" y="83"/>
                        <a:pt x="416" y="69"/>
                      </a:cubicBezTo>
                      <a:cubicBezTo>
                        <a:pt x="411" y="55"/>
                        <a:pt x="403" y="43"/>
                        <a:pt x="392" y="33"/>
                      </a:cubicBezTo>
                      <a:cubicBezTo>
                        <a:pt x="382" y="23"/>
                        <a:pt x="370" y="15"/>
                        <a:pt x="356" y="9"/>
                      </a:cubicBezTo>
                      <a:cubicBezTo>
                        <a:pt x="343" y="3"/>
                        <a:pt x="328" y="0"/>
                        <a:pt x="312" y="0"/>
                      </a:cubicBezTo>
                      <a:cubicBezTo>
                        <a:pt x="301" y="0"/>
                        <a:pt x="291" y="1"/>
                        <a:pt x="282" y="4"/>
                      </a:cubicBezTo>
                      <a:cubicBezTo>
                        <a:pt x="273" y="7"/>
                        <a:pt x="264" y="10"/>
                        <a:pt x="257" y="15"/>
                      </a:cubicBezTo>
                      <a:cubicBezTo>
                        <a:pt x="249" y="20"/>
                        <a:pt x="242" y="25"/>
                        <a:pt x="235" y="32"/>
                      </a:cubicBezTo>
                      <a:cubicBezTo>
                        <a:pt x="228" y="38"/>
                        <a:pt x="220" y="45"/>
                        <a:pt x="213" y="53"/>
                      </a:cubicBezTo>
                      <a:cubicBezTo>
                        <a:pt x="205" y="45"/>
                        <a:pt x="198" y="38"/>
                        <a:pt x="191" y="32"/>
                      </a:cubicBezTo>
                      <a:cubicBezTo>
                        <a:pt x="184" y="25"/>
                        <a:pt x="177" y="20"/>
                        <a:pt x="169" y="15"/>
                      </a:cubicBezTo>
                      <a:cubicBezTo>
                        <a:pt x="161" y="10"/>
                        <a:pt x="153" y="7"/>
                        <a:pt x="144" y="4"/>
                      </a:cubicBezTo>
                      <a:cubicBezTo>
                        <a:pt x="135" y="1"/>
                        <a:pt x="125" y="0"/>
                        <a:pt x="113" y="0"/>
                      </a:cubicBezTo>
                      <a:cubicBezTo>
                        <a:pt x="98" y="0"/>
                        <a:pt x="83" y="3"/>
                        <a:pt x="69" y="9"/>
                      </a:cubicBezTo>
                      <a:cubicBezTo>
                        <a:pt x="56" y="15"/>
                        <a:pt x="44" y="23"/>
                        <a:pt x="33" y="33"/>
                      </a:cubicBezTo>
                      <a:cubicBezTo>
                        <a:pt x="23" y="43"/>
                        <a:pt x="15" y="55"/>
                        <a:pt x="9" y="69"/>
                      </a:cubicBezTo>
                      <a:cubicBezTo>
                        <a:pt x="3" y="83"/>
                        <a:pt x="0" y="98"/>
                        <a:pt x="0" y="113"/>
                      </a:cubicBezTo>
                      <a:cubicBezTo>
                        <a:pt x="0" y="128"/>
                        <a:pt x="3" y="143"/>
                        <a:pt x="9" y="156"/>
                      </a:cubicBezTo>
                      <a:cubicBezTo>
                        <a:pt x="15" y="170"/>
                        <a:pt x="23" y="182"/>
                        <a:pt x="33" y="19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4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8AD5EE10-C0B9-4375-9B35-2EA837A9E6F2}"/>
              </a:ext>
            </a:extLst>
          </p:cNvPr>
          <p:cNvGrpSpPr/>
          <p:nvPr/>
        </p:nvGrpSpPr>
        <p:grpSpPr>
          <a:xfrm>
            <a:off x="7134548" y="2550803"/>
            <a:ext cx="392268" cy="538888"/>
            <a:chOff x="7134548" y="2550803"/>
            <a:chExt cx="392268" cy="538888"/>
          </a:xfrm>
        </p:grpSpPr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DECC1B4-5218-4D8F-99C1-67D0E473A5AA}"/>
                </a:ext>
              </a:extLst>
            </p:cNvPr>
            <p:cNvSpPr txBox="1"/>
            <p:nvPr/>
          </p:nvSpPr>
          <p:spPr>
            <a:xfrm>
              <a:off x="7209421" y="2905025"/>
              <a:ext cx="31739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ales</a:t>
              </a:r>
            </a:p>
          </p:txBody>
        </p: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E6D07950-E8C3-48B1-AD49-71301C8EFCA6}"/>
                </a:ext>
              </a:extLst>
            </p:cNvPr>
            <p:cNvGrpSpPr/>
            <p:nvPr/>
          </p:nvGrpSpPr>
          <p:grpSpPr>
            <a:xfrm>
              <a:off x="7134548" y="2550803"/>
              <a:ext cx="348895" cy="321673"/>
              <a:chOff x="8279797" y="1415693"/>
              <a:chExt cx="223838" cy="206375"/>
            </a:xfrm>
            <a:solidFill>
              <a:schemeClr val="bg1"/>
            </a:solidFill>
          </p:grpSpPr>
          <p:sp>
            <p:nvSpPr>
              <p:cNvPr id="174" name="Freeform 170">
                <a:extLst>
                  <a:ext uri="{FF2B5EF4-FFF2-40B4-BE49-F238E27FC236}">
                    <a16:creationId xmlns:a16="http://schemas.microsoft.com/office/drawing/2014/main" id="{C79D1221-B022-415A-84EA-6B526EA3C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3772" y="1441093"/>
                <a:ext cx="169863" cy="180975"/>
              </a:xfrm>
              <a:custGeom>
                <a:avLst/>
                <a:gdLst>
                  <a:gd name="T0" fmla="*/ 80 w 172"/>
                  <a:gd name="T1" fmla="*/ 183 h 183"/>
                  <a:gd name="T2" fmla="*/ 80 w 172"/>
                  <a:gd name="T3" fmla="*/ 183 h 183"/>
                  <a:gd name="T4" fmla="*/ 172 w 172"/>
                  <a:gd name="T5" fmla="*/ 91 h 183"/>
                  <a:gd name="T6" fmla="*/ 98 w 172"/>
                  <a:gd name="T7" fmla="*/ 0 h 183"/>
                  <a:gd name="T8" fmla="*/ 80 w 172"/>
                  <a:gd name="T9" fmla="*/ 91 h 183"/>
                  <a:gd name="T10" fmla="*/ 0 w 172"/>
                  <a:gd name="T11" fmla="*/ 136 h 183"/>
                  <a:gd name="T12" fmla="*/ 80 w 172"/>
                  <a:gd name="T13" fmla="*/ 18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83">
                    <a:moveTo>
                      <a:pt x="80" y="183"/>
                    </a:moveTo>
                    <a:lnTo>
                      <a:pt x="80" y="183"/>
                    </a:lnTo>
                    <a:cubicBezTo>
                      <a:pt x="131" y="183"/>
                      <a:pt x="172" y="142"/>
                      <a:pt x="172" y="91"/>
                    </a:cubicBezTo>
                    <a:cubicBezTo>
                      <a:pt x="172" y="46"/>
                      <a:pt x="140" y="9"/>
                      <a:pt x="98" y="0"/>
                    </a:cubicBezTo>
                    <a:lnTo>
                      <a:pt x="80" y="91"/>
                    </a:lnTo>
                    <a:lnTo>
                      <a:pt x="0" y="136"/>
                    </a:lnTo>
                    <a:cubicBezTo>
                      <a:pt x="16" y="164"/>
                      <a:pt x="46" y="183"/>
                      <a:pt x="80" y="18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Freeform 171">
                <a:extLst>
                  <a:ext uri="{FF2B5EF4-FFF2-40B4-BE49-F238E27FC236}">
                    <a16:creationId xmlns:a16="http://schemas.microsoft.com/office/drawing/2014/main" id="{A51A8B61-947C-496B-AAD8-19A823B12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797" y="1514118"/>
                <a:ext cx="90488" cy="55563"/>
              </a:xfrm>
              <a:custGeom>
                <a:avLst/>
                <a:gdLst>
                  <a:gd name="T0" fmla="*/ 92 w 92"/>
                  <a:gd name="T1" fmla="*/ 12 h 56"/>
                  <a:gd name="T2" fmla="*/ 92 w 92"/>
                  <a:gd name="T3" fmla="*/ 12 h 56"/>
                  <a:gd name="T4" fmla="*/ 0 w 92"/>
                  <a:gd name="T5" fmla="*/ 0 h 56"/>
                  <a:gd name="T6" fmla="*/ 0 w 92"/>
                  <a:gd name="T7" fmla="*/ 7 h 56"/>
                  <a:gd name="T8" fmla="*/ 14 w 92"/>
                  <a:gd name="T9" fmla="*/ 56 h 56"/>
                  <a:gd name="T10" fmla="*/ 92 w 92"/>
                  <a:gd name="T11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" h="56">
                    <a:moveTo>
                      <a:pt x="92" y="12"/>
                    </a:moveTo>
                    <a:lnTo>
                      <a:pt x="92" y="12"/>
                    </a:lnTo>
                    <a:lnTo>
                      <a:pt x="0" y="0"/>
                    </a:lnTo>
                    <a:cubicBezTo>
                      <a:pt x="0" y="2"/>
                      <a:pt x="0" y="5"/>
                      <a:pt x="0" y="7"/>
                    </a:cubicBezTo>
                    <a:cubicBezTo>
                      <a:pt x="0" y="25"/>
                      <a:pt x="5" y="42"/>
                      <a:pt x="14" y="56"/>
                    </a:cubicBezTo>
                    <a:lnTo>
                      <a:pt x="92" y="1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Freeform 172">
                <a:extLst>
                  <a:ext uri="{FF2B5EF4-FFF2-40B4-BE49-F238E27FC236}">
                    <a16:creationId xmlns:a16="http://schemas.microsoft.com/office/drawing/2014/main" id="{9D489E9C-D608-4555-A4B4-926037C2A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7259" y="1415693"/>
                <a:ext cx="111125" cy="92075"/>
              </a:xfrm>
              <a:custGeom>
                <a:avLst/>
                <a:gdLst>
                  <a:gd name="T0" fmla="*/ 113 w 113"/>
                  <a:gd name="T1" fmla="*/ 3 h 93"/>
                  <a:gd name="T2" fmla="*/ 113 w 113"/>
                  <a:gd name="T3" fmla="*/ 3 h 93"/>
                  <a:gd name="T4" fmla="*/ 92 w 113"/>
                  <a:gd name="T5" fmla="*/ 0 h 93"/>
                  <a:gd name="T6" fmla="*/ 0 w 113"/>
                  <a:gd name="T7" fmla="*/ 81 h 93"/>
                  <a:gd name="T8" fmla="*/ 95 w 113"/>
                  <a:gd name="T9" fmla="*/ 93 h 93"/>
                  <a:gd name="T10" fmla="*/ 113 w 113"/>
                  <a:gd name="T11" fmla="*/ 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3" h="93">
                    <a:moveTo>
                      <a:pt x="113" y="3"/>
                    </a:moveTo>
                    <a:lnTo>
                      <a:pt x="113" y="3"/>
                    </a:lnTo>
                    <a:cubicBezTo>
                      <a:pt x="106" y="1"/>
                      <a:pt x="99" y="0"/>
                      <a:pt x="92" y="0"/>
                    </a:cubicBezTo>
                    <a:cubicBezTo>
                      <a:pt x="45" y="0"/>
                      <a:pt x="6" y="35"/>
                      <a:pt x="0" y="81"/>
                    </a:cubicBezTo>
                    <a:lnTo>
                      <a:pt x="95" y="93"/>
                    </a:lnTo>
                    <a:lnTo>
                      <a:pt x="113" y="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9AF8A2C7-1842-49C6-98FF-5B797C430603}"/>
              </a:ext>
            </a:extLst>
          </p:cNvPr>
          <p:cNvGrpSpPr/>
          <p:nvPr/>
        </p:nvGrpSpPr>
        <p:grpSpPr>
          <a:xfrm>
            <a:off x="6878862" y="3617580"/>
            <a:ext cx="691150" cy="610365"/>
            <a:chOff x="6878862" y="3617580"/>
            <a:chExt cx="691150" cy="610365"/>
          </a:xfrm>
        </p:grpSpPr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A89FA668-3655-44CA-9608-C2C61BBFE649}"/>
                </a:ext>
              </a:extLst>
            </p:cNvPr>
            <p:cNvSpPr txBox="1"/>
            <p:nvPr/>
          </p:nvSpPr>
          <p:spPr>
            <a:xfrm>
              <a:off x="6878862" y="4043279"/>
              <a:ext cx="69115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perations</a:t>
              </a:r>
            </a:p>
          </p:txBody>
        </p: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4B46EA90-A6B0-4B1E-AB3A-6FCE721B7FAF}"/>
                </a:ext>
              </a:extLst>
            </p:cNvPr>
            <p:cNvGrpSpPr/>
            <p:nvPr/>
          </p:nvGrpSpPr>
          <p:grpSpPr>
            <a:xfrm>
              <a:off x="7136696" y="3617580"/>
              <a:ext cx="398852" cy="398851"/>
              <a:chOff x="3120656" y="3158274"/>
              <a:chExt cx="541454" cy="541454"/>
            </a:xfrm>
            <a:solidFill>
              <a:schemeClr val="bg1"/>
            </a:solidFill>
          </p:grpSpPr>
          <p:sp>
            <p:nvSpPr>
              <p:cNvPr id="180" name="Freeform 969">
                <a:extLst>
                  <a:ext uri="{FF2B5EF4-FFF2-40B4-BE49-F238E27FC236}">
                    <a16:creationId xmlns:a16="http://schemas.microsoft.com/office/drawing/2014/main" id="{5CB89038-E7D2-4C91-B23F-7EFD3D8CD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7308" y="3158274"/>
                <a:ext cx="254802" cy="254802"/>
              </a:xfrm>
              <a:custGeom>
                <a:avLst/>
                <a:gdLst>
                  <a:gd name="T0" fmla="*/ 55 w 60"/>
                  <a:gd name="T1" fmla="*/ 24 h 60"/>
                  <a:gd name="T2" fmla="*/ 52 w 60"/>
                  <a:gd name="T3" fmla="*/ 17 h 60"/>
                  <a:gd name="T4" fmla="*/ 54 w 60"/>
                  <a:gd name="T5" fmla="*/ 12 h 60"/>
                  <a:gd name="T6" fmla="*/ 48 w 60"/>
                  <a:gd name="T7" fmla="*/ 6 h 60"/>
                  <a:gd name="T8" fmla="*/ 43 w 60"/>
                  <a:gd name="T9" fmla="*/ 8 h 60"/>
                  <a:gd name="T10" fmla="*/ 36 w 60"/>
                  <a:gd name="T11" fmla="*/ 5 h 60"/>
                  <a:gd name="T12" fmla="*/ 34 w 60"/>
                  <a:gd name="T13" fmla="*/ 0 h 60"/>
                  <a:gd name="T14" fmla="*/ 26 w 60"/>
                  <a:gd name="T15" fmla="*/ 0 h 60"/>
                  <a:gd name="T16" fmla="*/ 24 w 60"/>
                  <a:gd name="T17" fmla="*/ 5 h 60"/>
                  <a:gd name="T18" fmla="*/ 17 w 60"/>
                  <a:gd name="T19" fmla="*/ 8 h 60"/>
                  <a:gd name="T20" fmla="*/ 12 w 60"/>
                  <a:gd name="T21" fmla="*/ 6 h 60"/>
                  <a:gd name="T22" fmla="*/ 6 w 60"/>
                  <a:gd name="T23" fmla="*/ 12 h 60"/>
                  <a:gd name="T24" fmla="*/ 8 w 60"/>
                  <a:gd name="T25" fmla="*/ 17 h 60"/>
                  <a:gd name="T26" fmla="*/ 5 w 60"/>
                  <a:gd name="T27" fmla="*/ 24 h 60"/>
                  <a:gd name="T28" fmla="*/ 0 w 60"/>
                  <a:gd name="T29" fmla="*/ 26 h 60"/>
                  <a:gd name="T30" fmla="*/ 0 w 60"/>
                  <a:gd name="T31" fmla="*/ 34 h 60"/>
                  <a:gd name="T32" fmla="*/ 5 w 60"/>
                  <a:gd name="T33" fmla="*/ 36 h 60"/>
                  <a:gd name="T34" fmla="*/ 8 w 60"/>
                  <a:gd name="T35" fmla="*/ 43 h 60"/>
                  <a:gd name="T36" fmla="*/ 6 w 60"/>
                  <a:gd name="T37" fmla="*/ 48 h 60"/>
                  <a:gd name="T38" fmla="*/ 12 w 60"/>
                  <a:gd name="T39" fmla="*/ 54 h 60"/>
                  <a:gd name="T40" fmla="*/ 17 w 60"/>
                  <a:gd name="T41" fmla="*/ 52 h 60"/>
                  <a:gd name="T42" fmla="*/ 24 w 60"/>
                  <a:gd name="T43" fmla="*/ 55 h 60"/>
                  <a:gd name="T44" fmla="*/ 26 w 60"/>
                  <a:gd name="T45" fmla="*/ 60 h 60"/>
                  <a:gd name="T46" fmla="*/ 34 w 60"/>
                  <a:gd name="T47" fmla="*/ 60 h 60"/>
                  <a:gd name="T48" fmla="*/ 36 w 60"/>
                  <a:gd name="T49" fmla="*/ 55 h 60"/>
                  <a:gd name="T50" fmla="*/ 43 w 60"/>
                  <a:gd name="T51" fmla="*/ 52 h 60"/>
                  <a:gd name="T52" fmla="*/ 48 w 60"/>
                  <a:gd name="T53" fmla="*/ 54 h 60"/>
                  <a:gd name="T54" fmla="*/ 54 w 60"/>
                  <a:gd name="T55" fmla="*/ 48 h 60"/>
                  <a:gd name="T56" fmla="*/ 52 w 60"/>
                  <a:gd name="T57" fmla="*/ 43 h 60"/>
                  <a:gd name="T58" fmla="*/ 55 w 60"/>
                  <a:gd name="T59" fmla="*/ 36 h 60"/>
                  <a:gd name="T60" fmla="*/ 60 w 60"/>
                  <a:gd name="T61" fmla="*/ 34 h 60"/>
                  <a:gd name="T62" fmla="*/ 60 w 60"/>
                  <a:gd name="T63" fmla="*/ 26 h 60"/>
                  <a:gd name="T64" fmla="*/ 55 w 60"/>
                  <a:gd name="T65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0" h="60">
                    <a:moveTo>
                      <a:pt x="55" y="24"/>
                    </a:moveTo>
                    <a:cubicBezTo>
                      <a:pt x="54" y="21"/>
                      <a:pt x="53" y="19"/>
                      <a:pt x="52" y="17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1" y="7"/>
                      <a:pt x="39" y="6"/>
                      <a:pt x="36" y="5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1" y="6"/>
                      <a:pt x="19" y="7"/>
                      <a:pt x="17" y="8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6" y="21"/>
                      <a:pt x="5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6" y="39"/>
                      <a:pt x="7" y="41"/>
                      <a:pt x="8" y="43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19" y="53"/>
                      <a:pt x="21" y="54"/>
                      <a:pt x="24" y="55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39" y="54"/>
                      <a:pt x="41" y="53"/>
                      <a:pt x="43" y="52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3" y="41"/>
                      <a:pt x="54" y="39"/>
                      <a:pt x="55" y="36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26"/>
                      <a:pt x="60" y="26"/>
                      <a:pt x="60" y="26"/>
                    </a:cubicBezTo>
                    <a:lnTo>
                      <a:pt x="55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Freeform 1042">
                <a:extLst>
                  <a:ext uri="{FF2B5EF4-FFF2-40B4-BE49-F238E27FC236}">
                    <a16:creationId xmlns:a16="http://schemas.microsoft.com/office/drawing/2014/main" id="{D7C7E32F-DBC2-4A36-9D06-5B5AB2D53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625" y="3237898"/>
                <a:ext cx="111478" cy="95551"/>
              </a:xfrm>
              <a:custGeom>
                <a:avLst/>
                <a:gdLst>
                  <a:gd name="T0" fmla="*/ 21 w 21"/>
                  <a:gd name="T1" fmla="*/ 5 h 18"/>
                  <a:gd name="T2" fmla="*/ 16 w 21"/>
                  <a:gd name="T3" fmla="*/ 0 h 18"/>
                  <a:gd name="T4" fmla="*/ 8 w 21"/>
                  <a:gd name="T5" fmla="*/ 8 h 18"/>
                  <a:gd name="T6" fmla="*/ 5 w 21"/>
                  <a:gd name="T7" fmla="*/ 5 h 18"/>
                  <a:gd name="T8" fmla="*/ 0 w 21"/>
                  <a:gd name="T9" fmla="*/ 10 h 18"/>
                  <a:gd name="T10" fmla="*/ 8 w 21"/>
                  <a:gd name="T11" fmla="*/ 18 h 18"/>
                  <a:gd name="T12" fmla="*/ 8 w 21"/>
                  <a:gd name="T13" fmla="*/ 18 h 18"/>
                  <a:gd name="T14" fmla="*/ 8 w 21"/>
                  <a:gd name="T15" fmla="*/ 18 h 18"/>
                  <a:gd name="T16" fmla="*/ 21 w 21"/>
                  <a:gd name="T17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8">
                    <a:moveTo>
                      <a:pt x="21" y="5"/>
                    </a:moveTo>
                    <a:lnTo>
                      <a:pt x="16" y="0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1" y="5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Freeform 1054">
                <a:extLst>
                  <a:ext uri="{FF2B5EF4-FFF2-40B4-BE49-F238E27FC236}">
                    <a16:creationId xmlns:a16="http://schemas.microsoft.com/office/drawing/2014/main" id="{9FB25D39-219C-46F2-8372-62EAAB2E58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0656" y="3359992"/>
                <a:ext cx="339736" cy="339736"/>
              </a:xfrm>
              <a:custGeom>
                <a:avLst/>
                <a:gdLst>
                  <a:gd name="T0" fmla="*/ 73 w 80"/>
                  <a:gd name="T1" fmla="*/ 46 h 80"/>
                  <a:gd name="T2" fmla="*/ 73 w 80"/>
                  <a:gd name="T3" fmla="*/ 33 h 80"/>
                  <a:gd name="T4" fmla="*/ 80 w 80"/>
                  <a:gd name="T5" fmla="*/ 28 h 80"/>
                  <a:gd name="T6" fmla="*/ 77 w 80"/>
                  <a:gd name="T7" fmla="*/ 20 h 80"/>
                  <a:gd name="T8" fmla="*/ 68 w 80"/>
                  <a:gd name="T9" fmla="*/ 21 h 80"/>
                  <a:gd name="T10" fmla="*/ 59 w 80"/>
                  <a:gd name="T11" fmla="*/ 12 h 80"/>
                  <a:gd name="T12" fmla="*/ 60 w 80"/>
                  <a:gd name="T13" fmla="*/ 3 h 80"/>
                  <a:gd name="T14" fmla="*/ 52 w 80"/>
                  <a:gd name="T15" fmla="*/ 0 h 80"/>
                  <a:gd name="T16" fmla="*/ 47 w 80"/>
                  <a:gd name="T17" fmla="*/ 7 h 80"/>
                  <a:gd name="T18" fmla="*/ 33 w 80"/>
                  <a:gd name="T19" fmla="*/ 7 h 80"/>
                  <a:gd name="T20" fmla="*/ 28 w 80"/>
                  <a:gd name="T21" fmla="*/ 0 h 80"/>
                  <a:gd name="T22" fmla="*/ 20 w 80"/>
                  <a:gd name="T23" fmla="*/ 3 h 80"/>
                  <a:gd name="T24" fmla="*/ 22 w 80"/>
                  <a:gd name="T25" fmla="*/ 12 h 80"/>
                  <a:gd name="T26" fmla="*/ 12 w 80"/>
                  <a:gd name="T27" fmla="*/ 21 h 80"/>
                  <a:gd name="T28" fmla="*/ 3 w 80"/>
                  <a:gd name="T29" fmla="*/ 20 h 80"/>
                  <a:gd name="T30" fmla="*/ 0 w 80"/>
                  <a:gd name="T31" fmla="*/ 28 h 80"/>
                  <a:gd name="T32" fmla="*/ 7 w 80"/>
                  <a:gd name="T33" fmla="*/ 33 h 80"/>
                  <a:gd name="T34" fmla="*/ 7 w 80"/>
                  <a:gd name="T35" fmla="*/ 47 h 80"/>
                  <a:gd name="T36" fmla="*/ 0 w 80"/>
                  <a:gd name="T37" fmla="*/ 52 h 80"/>
                  <a:gd name="T38" fmla="*/ 3 w 80"/>
                  <a:gd name="T39" fmla="*/ 60 h 80"/>
                  <a:gd name="T40" fmla="*/ 12 w 80"/>
                  <a:gd name="T41" fmla="*/ 58 h 80"/>
                  <a:gd name="T42" fmla="*/ 22 w 80"/>
                  <a:gd name="T43" fmla="*/ 68 h 80"/>
                  <a:gd name="T44" fmla="*/ 20 w 80"/>
                  <a:gd name="T45" fmla="*/ 77 h 80"/>
                  <a:gd name="T46" fmla="*/ 28 w 80"/>
                  <a:gd name="T47" fmla="*/ 80 h 80"/>
                  <a:gd name="T48" fmla="*/ 34 w 80"/>
                  <a:gd name="T49" fmla="*/ 73 h 80"/>
                  <a:gd name="T50" fmla="*/ 47 w 80"/>
                  <a:gd name="T51" fmla="*/ 73 h 80"/>
                  <a:gd name="T52" fmla="*/ 52 w 80"/>
                  <a:gd name="T53" fmla="*/ 80 h 80"/>
                  <a:gd name="T54" fmla="*/ 60 w 80"/>
                  <a:gd name="T55" fmla="*/ 77 h 80"/>
                  <a:gd name="T56" fmla="*/ 59 w 80"/>
                  <a:gd name="T57" fmla="*/ 68 h 80"/>
                  <a:gd name="T58" fmla="*/ 68 w 80"/>
                  <a:gd name="T59" fmla="*/ 58 h 80"/>
                  <a:gd name="T60" fmla="*/ 77 w 80"/>
                  <a:gd name="T61" fmla="*/ 60 h 80"/>
                  <a:gd name="T62" fmla="*/ 80 w 80"/>
                  <a:gd name="T63" fmla="*/ 52 h 80"/>
                  <a:gd name="T64" fmla="*/ 73 w 80"/>
                  <a:gd name="T65" fmla="*/ 46 h 80"/>
                  <a:gd name="T66" fmla="*/ 32 w 80"/>
                  <a:gd name="T67" fmla="*/ 59 h 80"/>
                  <a:gd name="T68" fmla="*/ 21 w 80"/>
                  <a:gd name="T69" fmla="*/ 32 h 80"/>
                  <a:gd name="T70" fmla="*/ 48 w 80"/>
                  <a:gd name="T71" fmla="*/ 21 h 80"/>
                  <a:gd name="T72" fmla="*/ 59 w 80"/>
                  <a:gd name="T73" fmla="*/ 48 h 80"/>
                  <a:gd name="T74" fmla="*/ 32 w 80"/>
                  <a:gd name="T75" fmla="*/ 5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73" y="46"/>
                    </a:moveTo>
                    <a:cubicBezTo>
                      <a:pt x="74" y="42"/>
                      <a:pt x="74" y="37"/>
                      <a:pt x="73" y="33"/>
                    </a:cubicBezTo>
                    <a:cubicBezTo>
                      <a:pt x="80" y="28"/>
                      <a:pt x="80" y="28"/>
                      <a:pt x="80" y="28"/>
                    </a:cubicBezTo>
                    <a:cubicBezTo>
                      <a:pt x="77" y="20"/>
                      <a:pt x="77" y="20"/>
                      <a:pt x="77" y="20"/>
                    </a:cubicBezTo>
                    <a:cubicBezTo>
                      <a:pt x="68" y="21"/>
                      <a:pt x="68" y="21"/>
                      <a:pt x="68" y="21"/>
                    </a:cubicBezTo>
                    <a:cubicBezTo>
                      <a:pt x="66" y="18"/>
                      <a:pt x="62" y="14"/>
                      <a:pt x="59" y="12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42" y="6"/>
                      <a:pt x="38" y="6"/>
                      <a:pt x="33" y="7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18" y="14"/>
                      <a:pt x="15" y="18"/>
                      <a:pt x="12" y="2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8"/>
                      <a:pt x="7" y="42"/>
                      <a:pt x="7" y="47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5" y="62"/>
                      <a:pt x="18" y="65"/>
                      <a:pt x="22" y="68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34" y="73"/>
                      <a:pt x="34" y="73"/>
                      <a:pt x="34" y="73"/>
                    </a:cubicBezTo>
                    <a:cubicBezTo>
                      <a:pt x="38" y="73"/>
                      <a:pt x="43" y="73"/>
                      <a:pt x="47" y="73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59" y="68"/>
                      <a:pt x="59" y="68"/>
                      <a:pt x="59" y="68"/>
                    </a:cubicBezTo>
                    <a:cubicBezTo>
                      <a:pt x="62" y="65"/>
                      <a:pt x="66" y="62"/>
                      <a:pt x="68" y="58"/>
                    </a:cubicBezTo>
                    <a:cubicBezTo>
                      <a:pt x="77" y="60"/>
                      <a:pt x="77" y="60"/>
                      <a:pt x="77" y="60"/>
                    </a:cubicBezTo>
                    <a:cubicBezTo>
                      <a:pt x="80" y="52"/>
                      <a:pt x="80" y="52"/>
                      <a:pt x="80" y="52"/>
                    </a:cubicBezTo>
                    <a:lnTo>
                      <a:pt x="73" y="46"/>
                    </a:lnTo>
                    <a:close/>
                    <a:moveTo>
                      <a:pt x="32" y="59"/>
                    </a:moveTo>
                    <a:cubicBezTo>
                      <a:pt x="22" y="55"/>
                      <a:pt x="16" y="43"/>
                      <a:pt x="21" y="32"/>
                    </a:cubicBezTo>
                    <a:cubicBezTo>
                      <a:pt x="25" y="21"/>
                      <a:pt x="37" y="16"/>
                      <a:pt x="48" y="21"/>
                    </a:cubicBezTo>
                    <a:cubicBezTo>
                      <a:pt x="59" y="25"/>
                      <a:pt x="64" y="37"/>
                      <a:pt x="59" y="48"/>
                    </a:cubicBezTo>
                    <a:cubicBezTo>
                      <a:pt x="55" y="58"/>
                      <a:pt x="43" y="64"/>
                      <a:pt x="3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6275D460-C465-45AD-837B-DE409F2D29AD}"/>
              </a:ext>
            </a:extLst>
          </p:cNvPr>
          <p:cNvGrpSpPr/>
          <p:nvPr/>
        </p:nvGrpSpPr>
        <p:grpSpPr>
          <a:xfrm>
            <a:off x="5834755" y="4510805"/>
            <a:ext cx="482504" cy="581047"/>
            <a:chOff x="5834755" y="4510805"/>
            <a:chExt cx="482504" cy="581047"/>
          </a:xfrm>
        </p:grpSpPr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0B6B4D58-926C-43E5-93E3-16A29E2B83FD}"/>
                </a:ext>
              </a:extLst>
            </p:cNvPr>
            <p:cNvSpPr txBox="1"/>
            <p:nvPr/>
          </p:nvSpPr>
          <p:spPr>
            <a:xfrm>
              <a:off x="5834755" y="4510805"/>
              <a:ext cx="48250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nance</a:t>
              </a:r>
            </a:p>
          </p:txBody>
        </p:sp>
        <p:grpSp>
          <p:nvGrpSpPr>
            <p:cNvPr id="185" name="Group 194">
              <a:extLst>
                <a:ext uri="{FF2B5EF4-FFF2-40B4-BE49-F238E27FC236}">
                  <a16:creationId xmlns:a16="http://schemas.microsoft.com/office/drawing/2014/main" id="{61FE4DA1-620A-48F3-9317-DDD42447DEE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79016" y="4783033"/>
              <a:ext cx="356219" cy="308819"/>
              <a:chOff x="3290" y="3375"/>
              <a:chExt cx="248" cy="215"/>
            </a:xfrm>
            <a:solidFill>
              <a:schemeClr val="bg1"/>
            </a:solidFill>
          </p:grpSpPr>
          <p:sp>
            <p:nvSpPr>
              <p:cNvPr id="186" name="Freeform 195">
                <a:extLst>
                  <a:ext uri="{FF2B5EF4-FFF2-40B4-BE49-F238E27FC236}">
                    <a16:creationId xmlns:a16="http://schemas.microsoft.com/office/drawing/2014/main" id="{4C8C7AA3-D2A9-460F-A06B-D7822B136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3507"/>
                <a:ext cx="50" cy="83"/>
              </a:xfrm>
              <a:custGeom>
                <a:avLst/>
                <a:gdLst>
                  <a:gd name="T0" fmla="*/ 0 w 80"/>
                  <a:gd name="T1" fmla="*/ 134 h 134"/>
                  <a:gd name="T2" fmla="*/ 0 w 80"/>
                  <a:gd name="T3" fmla="*/ 134 h 134"/>
                  <a:gd name="T4" fmla="*/ 80 w 80"/>
                  <a:gd name="T5" fmla="*/ 134 h 134"/>
                  <a:gd name="T6" fmla="*/ 80 w 80"/>
                  <a:gd name="T7" fmla="*/ 0 h 134"/>
                  <a:gd name="T8" fmla="*/ 0 w 80"/>
                  <a:gd name="T9" fmla="*/ 0 h 134"/>
                  <a:gd name="T10" fmla="*/ 0 w 80"/>
                  <a:gd name="T11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34">
                    <a:moveTo>
                      <a:pt x="0" y="134"/>
                    </a:moveTo>
                    <a:lnTo>
                      <a:pt x="0" y="134"/>
                    </a:lnTo>
                    <a:lnTo>
                      <a:pt x="80" y="134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13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Freeform 196">
                <a:extLst>
                  <a:ext uri="{FF2B5EF4-FFF2-40B4-BE49-F238E27FC236}">
                    <a16:creationId xmlns:a16="http://schemas.microsoft.com/office/drawing/2014/main" id="{73241C09-E6CA-401F-8A9F-481D8998C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6" y="3441"/>
                <a:ext cx="50" cy="149"/>
              </a:xfrm>
              <a:custGeom>
                <a:avLst/>
                <a:gdLst>
                  <a:gd name="T0" fmla="*/ 0 w 80"/>
                  <a:gd name="T1" fmla="*/ 240 h 240"/>
                  <a:gd name="T2" fmla="*/ 0 w 80"/>
                  <a:gd name="T3" fmla="*/ 240 h 240"/>
                  <a:gd name="T4" fmla="*/ 80 w 80"/>
                  <a:gd name="T5" fmla="*/ 240 h 240"/>
                  <a:gd name="T6" fmla="*/ 80 w 80"/>
                  <a:gd name="T7" fmla="*/ 0 h 240"/>
                  <a:gd name="T8" fmla="*/ 0 w 80"/>
                  <a:gd name="T9" fmla="*/ 0 h 240"/>
                  <a:gd name="T10" fmla="*/ 0 w 8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240">
                    <a:moveTo>
                      <a:pt x="0" y="240"/>
                    </a:moveTo>
                    <a:lnTo>
                      <a:pt x="0" y="240"/>
                    </a:lnTo>
                    <a:lnTo>
                      <a:pt x="80" y="24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24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Freeform 197">
                <a:extLst>
                  <a:ext uri="{FF2B5EF4-FFF2-40B4-BE49-F238E27FC236}">
                    <a16:creationId xmlns:a16="http://schemas.microsoft.com/office/drawing/2014/main" id="{1966EA4A-2FBD-4F97-AAB8-E64EDB53F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3441"/>
                <a:ext cx="49" cy="149"/>
              </a:xfrm>
              <a:custGeom>
                <a:avLst/>
                <a:gdLst>
                  <a:gd name="T0" fmla="*/ 0 w 80"/>
                  <a:gd name="T1" fmla="*/ 240 h 240"/>
                  <a:gd name="T2" fmla="*/ 0 w 80"/>
                  <a:gd name="T3" fmla="*/ 240 h 240"/>
                  <a:gd name="T4" fmla="*/ 80 w 80"/>
                  <a:gd name="T5" fmla="*/ 240 h 240"/>
                  <a:gd name="T6" fmla="*/ 80 w 80"/>
                  <a:gd name="T7" fmla="*/ 0 h 240"/>
                  <a:gd name="T8" fmla="*/ 0 w 80"/>
                  <a:gd name="T9" fmla="*/ 0 h 240"/>
                  <a:gd name="T10" fmla="*/ 0 w 8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240">
                    <a:moveTo>
                      <a:pt x="0" y="240"/>
                    </a:moveTo>
                    <a:lnTo>
                      <a:pt x="0" y="240"/>
                    </a:lnTo>
                    <a:lnTo>
                      <a:pt x="80" y="24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24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Freeform 198">
                <a:extLst>
                  <a:ext uri="{FF2B5EF4-FFF2-40B4-BE49-F238E27FC236}">
                    <a16:creationId xmlns:a16="http://schemas.microsoft.com/office/drawing/2014/main" id="{3713FB1F-9D77-4D97-B6F0-36BE14587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2" y="3375"/>
                <a:ext cx="50" cy="215"/>
              </a:xfrm>
              <a:custGeom>
                <a:avLst/>
                <a:gdLst>
                  <a:gd name="T0" fmla="*/ 0 w 80"/>
                  <a:gd name="T1" fmla="*/ 347 h 347"/>
                  <a:gd name="T2" fmla="*/ 0 w 80"/>
                  <a:gd name="T3" fmla="*/ 347 h 347"/>
                  <a:gd name="T4" fmla="*/ 80 w 80"/>
                  <a:gd name="T5" fmla="*/ 347 h 347"/>
                  <a:gd name="T6" fmla="*/ 80 w 80"/>
                  <a:gd name="T7" fmla="*/ 0 h 347"/>
                  <a:gd name="T8" fmla="*/ 0 w 80"/>
                  <a:gd name="T9" fmla="*/ 0 h 347"/>
                  <a:gd name="T10" fmla="*/ 0 w 80"/>
                  <a:gd name="T11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47">
                    <a:moveTo>
                      <a:pt x="0" y="347"/>
                    </a:moveTo>
                    <a:lnTo>
                      <a:pt x="0" y="347"/>
                    </a:lnTo>
                    <a:lnTo>
                      <a:pt x="80" y="347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34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8EDAECE5-7A9A-4BDB-91D4-42025ABEE67E}"/>
              </a:ext>
            </a:extLst>
          </p:cNvPr>
          <p:cNvGrpSpPr/>
          <p:nvPr/>
        </p:nvGrpSpPr>
        <p:grpSpPr>
          <a:xfrm>
            <a:off x="4578865" y="3676233"/>
            <a:ext cx="477888" cy="551712"/>
            <a:chOff x="4578865" y="3676233"/>
            <a:chExt cx="477888" cy="551712"/>
          </a:xfrm>
        </p:grpSpPr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706BE16F-4C87-4499-A7D1-84DB78412C11}"/>
                </a:ext>
              </a:extLst>
            </p:cNvPr>
            <p:cNvSpPr txBox="1"/>
            <p:nvPr/>
          </p:nvSpPr>
          <p:spPr>
            <a:xfrm>
              <a:off x="4578865" y="4043279"/>
              <a:ext cx="47788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</a:t>
              </a:r>
            </a:p>
          </p:txBody>
        </p:sp>
        <p:grpSp>
          <p:nvGrpSpPr>
            <p:cNvPr id="192" name="Group 231">
              <a:extLst>
                <a:ext uri="{FF2B5EF4-FFF2-40B4-BE49-F238E27FC236}">
                  <a16:creationId xmlns:a16="http://schemas.microsoft.com/office/drawing/2014/main" id="{AF2D5C37-842C-4764-90A3-746C7EDCC43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618146" y="3676233"/>
              <a:ext cx="399326" cy="310588"/>
              <a:chOff x="5041" y="2779"/>
              <a:chExt cx="207" cy="161"/>
            </a:xfrm>
            <a:solidFill>
              <a:schemeClr val="bg1"/>
            </a:solidFill>
          </p:grpSpPr>
          <p:sp>
            <p:nvSpPr>
              <p:cNvPr id="193" name="Freeform 232">
                <a:extLst>
                  <a:ext uri="{FF2B5EF4-FFF2-40B4-BE49-F238E27FC236}">
                    <a16:creationId xmlns:a16="http://schemas.microsoft.com/office/drawing/2014/main" id="{DF96C921-C246-4F1F-B3F1-4A24EB238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" y="2821"/>
                <a:ext cx="58" cy="32"/>
              </a:xfrm>
              <a:custGeom>
                <a:avLst/>
                <a:gdLst>
                  <a:gd name="T0" fmla="*/ 93 w 93"/>
                  <a:gd name="T1" fmla="*/ 51 h 51"/>
                  <a:gd name="T2" fmla="*/ 93 w 93"/>
                  <a:gd name="T3" fmla="*/ 51 h 51"/>
                  <a:gd name="T4" fmla="*/ 93 w 93"/>
                  <a:gd name="T5" fmla="*/ 19 h 51"/>
                  <a:gd name="T6" fmla="*/ 91 w 93"/>
                  <a:gd name="T7" fmla="*/ 12 h 51"/>
                  <a:gd name="T8" fmla="*/ 87 w 93"/>
                  <a:gd name="T9" fmla="*/ 6 h 51"/>
                  <a:gd name="T10" fmla="*/ 81 w 93"/>
                  <a:gd name="T11" fmla="*/ 2 h 51"/>
                  <a:gd name="T12" fmla="*/ 74 w 93"/>
                  <a:gd name="T13" fmla="*/ 0 h 51"/>
                  <a:gd name="T14" fmla="*/ 18 w 93"/>
                  <a:gd name="T15" fmla="*/ 0 h 51"/>
                  <a:gd name="T16" fmla="*/ 11 w 93"/>
                  <a:gd name="T17" fmla="*/ 2 h 51"/>
                  <a:gd name="T18" fmla="*/ 6 w 93"/>
                  <a:gd name="T19" fmla="*/ 6 h 51"/>
                  <a:gd name="T20" fmla="*/ 1 w 93"/>
                  <a:gd name="T21" fmla="*/ 12 h 51"/>
                  <a:gd name="T22" fmla="*/ 0 w 93"/>
                  <a:gd name="T23" fmla="*/ 19 h 51"/>
                  <a:gd name="T24" fmla="*/ 0 w 93"/>
                  <a:gd name="T25" fmla="*/ 51 h 51"/>
                  <a:gd name="T26" fmla="*/ 48 w 93"/>
                  <a:gd name="T27" fmla="*/ 49 h 51"/>
                  <a:gd name="T28" fmla="*/ 93 w 93"/>
                  <a:gd name="T2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51">
                    <a:moveTo>
                      <a:pt x="93" y="51"/>
                    </a:moveTo>
                    <a:lnTo>
                      <a:pt x="93" y="51"/>
                    </a:lnTo>
                    <a:lnTo>
                      <a:pt x="93" y="19"/>
                    </a:lnTo>
                    <a:cubicBezTo>
                      <a:pt x="93" y="17"/>
                      <a:pt x="92" y="14"/>
                      <a:pt x="91" y="12"/>
                    </a:cubicBezTo>
                    <a:cubicBezTo>
                      <a:pt x="90" y="10"/>
                      <a:pt x="89" y="8"/>
                      <a:pt x="87" y="6"/>
                    </a:cubicBezTo>
                    <a:cubicBezTo>
                      <a:pt x="85" y="4"/>
                      <a:pt x="83" y="3"/>
                      <a:pt x="81" y="2"/>
                    </a:cubicBezTo>
                    <a:cubicBezTo>
                      <a:pt x="78" y="1"/>
                      <a:pt x="76" y="0"/>
                      <a:pt x="74" y="0"/>
                    </a:cubicBezTo>
                    <a:lnTo>
                      <a:pt x="18" y="0"/>
                    </a:lnTo>
                    <a:cubicBezTo>
                      <a:pt x="16" y="0"/>
                      <a:pt x="14" y="1"/>
                      <a:pt x="11" y="2"/>
                    </a:cubicBezTo>
                    <a:cubicBezTo>
                      <a:pt x="9" y="3"/>
                      <a:pt x="7" y="4"/>
                      <a:pt x="6" y="6"/>
                    </a:cubicBezTo>
                    <a:cubicBezTo>
                      <a:pt x="4" y="8"/>
                      <a:pt x="2" y="10"/>
                      <a:pt x="1" y="12"/>
                    </a:cubicBezTo>
                    <a:cubicBezTo>
                      <a:pt x="0" y="14"/>
                      <a:pt x="0" y="17"/>
                      <a:pt x="0" y="19"/>
                    </a:cubicBezTo>
                    <a:lnTo>
                      <a:pt x="0" y="51"/>
                    </a:lnTo>
                    <a:cubicBezTo>
                      <a:pt x="16" y="49"/>
                      <a:pt x="32" y="49"/>
                      <a:pt x="48" y="49"/>
                    </a:cubicBezTo>
                    <a:cubicBezTo>
                      <a:pt x="63" y="49"/>
                      <a:pt x="78" y="49"/>
                      <a:pt x="93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233">
                <a:extLst>
                  <a:ext uri="{FF2B5EF4-FFF2-40B4-BE49-F238E27FC236}">
                    <a16:creationId xmlns:a16="http://schemas.microsoft.com/office/drawing/2014/main" id="{2AAF8B4A-16BC-4D24-99C0-BC03FBC57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779"/>
                <a:ext cx="34" cy="33"/>
              </a:xfrm>
              <a:custGeom>
                <a:avLst/>
                <a:gdLst>
                  <a:gd name="T0" fmla="*/ 27 w 54"/>
                  <a:gd name="T1" fmla="*/ 53 h 53"/>
                  <a:gd name="T2" fmla="*/ 27 w 54"/>
                  <a:gd name="T3" fmla="*/ 53 h 53"/>
                  <a:gd name="T4" fmla="*/ 54 w 54"/>
                  <a:gd name="T5" fmla="*/ 26 h 53"/>
                  <a:gd name="T6" fmla="*/ 27 w 54"/>
                  <a:gd name="T7" fmla="*/ 0 h 53"/>
                  <a:gd name="T8" fmla="*/ 0 w 54"/>
                  <a:gd name="T9" fmla="*/ 26 h 53"/>
                  <a:gd name="T10" fmla="*/ 27 w 54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3">
                    <a:moveTo>
                      <a:pt x="27" y="53"/>
                    </a:moveTo>
                    <a:lnTo>
                      <a:pt x="27" y="53"/>
                    </a:lnTo>
                    <a:cubicBezTo>
                      <a:pt x="42" y="53"/>
                      <a:pt x="54" y="41"/>
                      <a:pt x="54" y="26"/>
                    </a:cubicBezTo>
                    <a:cubicBezTo>
                      <a:pt x="54" y="11"/>
                      <a:pt x="42" y="0"/>
                      <a:pt x="27" y="0"/>
                    </a:cubicBezTo>
                    <a:cubicBezTo>
                      <a:pt x="12" y="0"/>
                      <a:pt x="0" y="11"/>
                      <a:pt x="0" y="26"/>
                    </a:cubicBezTo>
                    <a:cubicBezTo>
                      <a:pt x="0" y="41"/>
                      <a:pt x="12" y="53"/>
                      <a:pt x="27" y="5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Freeform 234">
                <a:extLst>
                  <a:ext uri="{FF2B5EF4-FFF2-40B4-BE49-F238E27FC236}">
                    <a16:creationId xmlns:a16="http://schemas.microsoft.com/office/drawing/2014/main" id="{B0A8A166-D88E-45C7-895E-49B75572A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2838"/>
                <a:ext cx="58" cy="39"/>
              </a:xfrm>
              <a:custGeom>
                <a:avLst/>
                <a:gdLst>
                  <a:gd name="T0" fmla="*/ 93 w 93"/>
                  <a:gd name="T1" fmla="*/ 18 h 63"/>
                  <a:gd name="T2" fmla="*/ 93 w 93"/>
                  <a:gd name="T3" fmla="*/ 18 h 63"/>
                  <a:gd name="T4" fmla="*/ 91 w 93"/>
                  <a:gd name="T5" fmla="*/ 12 h 63"/>
                  <a:gd name="T6" fmla="*/ 87 w 93"/>
                  <a:gd name="T7" fmla="*/ 6 h 63"/>
                  <a:gd name="T8" fmla="*/ 81 w 93"/>
                  <a:gd name="T9" fmla="*/ 1 h 63"/>
                  <a:gd name="T10" fmla="*/ 74 w 93"/>
                  <a:gd name="T11" fmla="*/ 0 h 63"/>
                  <a:gd name="T12" fmla="*/ 18 w 93"/>
                  <a:gd name="T13" fmla="*/ 0 h 63"/>
                  <a:gd name="T14" fmla="*/ 12 w 93"/>
                  <a:gd name="T15" fmla="*/ 1 h 63"/>
                  <a:gd name="T16" fmla="*/ 6 w 93"/>
                  <a:gd name="T17" fmla="*/ 6 h 63"/>
                  <a:gd name="T18" fmla="*/ 1 w 93"/>
                  <a:gd name="T19" fmla="*/ 12 h 63"/>
                  <a:gd name="T20" fmla="*/ 0 w 93"/>
                  <a:gd name="T21" fmla="*/ 18 h 63"/>
                  <a:gd name="T22" fmla="*/ 0 w 93"/>
                  <a:gd name="T23" fmla="*/ 62 h 63"/>
                  <a:gd name="T24" fmla="*/ 0 w 93"/>
                  <a:gd name="T25" fmla="*/ 63 h 63"/>
                  <a:gd name="T26" fmla="*/ 93 w 93"/>
                  <a:gd name="T27" fmla="*/ 28 h 63"/>
                  <a:gd name="T28" fmla="*/ 93 w 93"/>
                  <a:gd name="T29" fmla="*/ 1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63">
                    <a:moveTo>
                      <a:pt x="93" y="18"/>
                    </a:moveTo>
                    <a:lnTo>
                      <a:pt x="93" y="18"/>
                    </a:lnTo>
                    <a:cubicBezTo>
                      <a:pt x="93" y="16"/>
                      <a:pt x="92" y="14"/>
                      <a:pt x="91" y="12"/>
                    </a:cubicBezTo>
                    <a:cubicBezTo>
                      <a:pt x="90" y="10"/>
                      <a:pt x="89" y="8"/>
                      <a:pt x="87" y="6"/>
                    </a:cubicBezTo>
                    <a:cubicBezTo>
                      <a:pt x="85" y="4"/>
                      <a:pt x="83" y="3"/>
                      <a:pt x="81" y="1"/>
                    </a:cubicBezTo>
                    <a:cubicBezTo>
                      <a:pt x="79" y="0"/>
                      <a:pt x="76" y="0"/>
                      <a:pt x="74" y="0"/>
                    </a:cubicBezTo>
                    <a:lnTo>
                      <a:pt x="18" y="0"/>
                    </a:lnTo>
                    <a:cubicBezTo>
                      <a:pt x="16" y="0"/>
                      <a:pt x="14" y="0"/>
                      <a:pt x="12" y="1"/>
                    </a:cubicBezTo>
                    <a:cubicBezTo>
                      <a:pt x="9" y="3"/>
                      <a:pt x="7" y="4"/>
                      <a:pt x="6" y="6"/>
                    </a:cubicBezTo>
                    <a:cubicBezTo>
                      <a:pt x="4" y="7"/>
                      <a:pt x="2" y="9"/>
                      <a:pt x="1" y="12"/>
                    </a:cubicBezTo>
                    <a:cubicBezTo>
                      <a:pt x="0" y="14"/>
                      <a:pt x="0" y="16"/>
                      <a:pt x="0" y="18"/>
                    </a:cubicBezTo>
                    <a:lnTo>
                      <a:pt x="0" y="62"/>
                    </a:lnTo>
                    <a:cubicBezTo>
                      <a:pt x="0" y="62"/>
                      <a:pt x="0" y="63"/>
                      <a:pt x="0" y="63"/>
                    </a:cubicBezTo>
                    <a:cubicBezTo>
                      <a:pt x="21" y="46"/>
                      <a:pt x="55" y="34"/>
                      <a:pt x="93" y="28"/>
                    </a:cubicBezTo>
                    <a:lnTo>
                      <a:pt x="93" y="1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Freeform 235">
                <a:extLst>
                  <a:ext uri="{FF2B5EF4-FFF2-40B4-BE49-F238E27FC236}">
                    <a16:creationId xmlns:a16="http://schemas.microsoft.com/office/drawing/2014/main" id="{DAB79C24-314A-4BBC-9E78-BFA27DDA1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" y="2796"/>
                <a:ext cx="33" cy="33"/>
              </a:xfrm>
              <a:custGeom>
                <a:avLst/>
                <a:gdLst>
                  <a:gd name="T0" fmla="*/ 26 w 53"/>
                  <a:gd name="T1" fmla="*/ 0 h 53"/>
                  <a:gd name="T2" fmla="*/ 26 w 53"/>
                  <a:gd name="T3" fmla="*/ 0 h 53"/>
                  <a:gd name="T4" fmla="*/ 0 w 53"/>
                  <a:gd name="T5" fmla="*/ 27 h 53"/>
                  <a:gd name="T6" fmla="*/ 26 w 53"/>
                  <a:gd name="T7" fmla="*/ 53 h 53"/>
                  <a:gd name="T8" fmla="*/ 53 w 53"/>
                  <a:gd name="T9" fmla="*/ 27 h 53"/>
                  <a:gd name="T10" fmla="*/ 26 w 53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" h="53">
                    <a:moveTo>
                      <a:pt x="26" y="0"/>
                    </a:moveTo>
                    <a:lnTo>
                      <a:pt x="26" y="0"/>
                    </a:lnTo>
                    <a:cubicBezTo>
                      <a:pt x="12" y="0"/>
                      <a:pt x="0" y="12"/>
                      <a:pt x="0" y="27"/>
                    </a:cubicBezTo>
                    <a:cubicBezTo>
                      <a:pt x="0" y="42"/>
                      <a:pt x="12" y="53"/>
                      <a:pt x="26" y="53"/>
                    </a:cubicBezTo>
                    <a:cubicBezTo>
                      <a:pt x="41" y="53"/>
                      <a:pt x="53" y="42"/>
                      <a:pt x="53" y="27"/>
                    </a:cubicBezTo>
                    <a:cubicBezTo>
                      <a:pt x="53" y="12"/>
                      <a:pt x="41" y="0"/>
                      <a:pt x="26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Freeform 236">
                <a:extLst>
                  <a:ext uri="{FF2B5EF4-FFF2-40B4-BE49-F238E27FC236}">
                    <a16:creationId xmlns:a16="http://schemas.microsoft.com/office/drawing/2014/main" id="{0621E224-13C1-4ECD-B92C-A61A2005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838"/>
                <a:ext cx="59" cy="36"/>
              </a:xfrm>
              <a:custGeom>
                <a:avLst/>
                <a:gdLst>
                  <a:gd name="T0" fmla="*/ 94 w 94"/>
                  <a:gd name="T1" fmla="*/ 18 h 59"/>
                  <a:gd name="T2" fmla="*/ 94 w 94"/>
                  <a:gd name="T3" fmla="*/ 18 h 59"/>
                  <a:gd name="T4" fmla="*/ 92 w 94"/>
                  <a:gd name="T5" fmla="*/ 12 h 59"/>
                  <a:gd name="T6" fmla="*/ 88 w 94"/>
                  <a:gd name="T7" fmla="*/ 6 h 59"/>
                  <a:gd name="T8" fmla="*/ 82 w 94"/>
                  <a:gd name="T9" fmla="*/ 1 h 59"/>
                  <a:gd name="T10" fmla="*/ 75 w 94"/>
                  <a:gd name="T11" fmla="*/ 0 h 59"/>
                  <a:gd name="T12" fmla="*/ 19 w 94"/>
                  <a:gd name="T13" fmla="*/ 0 h 59"/>
                  <a:gd name="T14" fmla="*/ 12 w 94"/>
                  <a:gd name="T15" fmla="*/ 1 h 59"/>
                  <a:gd name="T16" fmla="*/ 6 w 94"/>
                  <a:gd name="T17" fmla="*/ 6 h 59"/>
                  <a:gd name="T18" fmla="*/ 2 w 94"/>
                  <a:gd name="T19" fmla="*/ 12 h 59"/>
                  <a:gd name="T20" fmla="*/ 0 w 94"/>
                  <a:gd name="T21" fmla="*/ 18 h 59"/>
                  <a:gd name="T22" fmla="*/ 0 w 94"/>
                  <a:gd name="T23" fmla="*/ 27 h 59"/>
                  <a:gd name="T24" fmla="*/ 94 w 94"/>
                  <a:gd name="T25" fmla="*/ 59 h 59"/>
                  <a:gd name="T26" fmla="*/ 94 w 94"/>
                  <a:gd name="T27" fmla="*/ 1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59">
                    <a:moveTo>
                      <a:pt x="94" y="18"/>
                    </a:moveTo>
                    <a:lnTo>
                      <a:pt x="94" y="18"/>
                    </a:lnTo>
                    <a:cubicBezTo>
                      <a:pt x="94" y="16"/>
                      <a:pt x="93" y="14"/>
                      <a:pt x="92" y="12"/>
                    </a:cubicBezTo>
                    <a:cubicBezTo>
                      <a:pt x="91" y="10"/>
                      <a:pt x="89" y="8"/>
                      <a:pt x="88" y="6"/>
                    </a:cubicBezTo>
                    <a:cubicBezTo>
                      <a:pt x="86" y="4"/>
                      <a:pt x="84" y="3"/>
                      <a:pt x="82" y="1"/>
                    </a:cubicBezTo>
                    <a:cubicBezTo>
                      <a:pt x="79" y="0"/>
                      <a:pt x="77" y="0"/>
                      <a:pt x="75" y="0"/>
                    </a:cubicBezTo>
                    <a:lnTo>
                      <a:pt x="19" y="0"/>
                    </a:lnTo>
                    <a:cubicBezTo>
                      <a:pt x="17" y="0"/>
                      <a:pt x="15" y="0"/>
                      <a:pt x="12" y="1"/>
                    </a:cubicBezTo>
                    <a:cubicBezTo>
                      <a:pt x="10" y="3"/>
                      <a:pt x="8" y="4"/>
                      <a:pt x="6" y="6"/>
                    </a:cubicBezTo>
                    <a:cubicBezTo>
                      <a:pt x="5" y="7"/>
                      <a:pt x="3" y="9"/>
                      <a:pt x="2" y="12"/>
                    </a:cubicBezTo>
                    <a:cubicBezTo>
                      <a:pt x="1" y="14"/>
                      <a:pt x="0" y="16"/>
                      <a:pt x="0" y="18"/>
                    </a:cubicBezTo>
                    <a:lnTo>
                      <a:pt x="0" y="27"/>
                    </a:lnTo>
                    <a:cubicBezTo>
                      <a:pt x="38" y="33"/>
                      <a:pt x="71" y="44"/>
                      <a:pt x="94" y="59"/>
                    </a:cubicBezTo>
                    <a:lnTo>
                      <a:pt x="94" y="1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Freeform 237">
                <a:extLst>
                  <a:ext uri="{FF2B5EF4-FFF2-40B4-BE49-F238E27FC236}">
                    <a16:creationId xmlns:a16="http://schemas.microsoft.com/office/drawing/2014/main" id="{93F2E01A-E15E-49CB-912E-DC9BBBACE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796"/>
                <a:ext cx="33" cy="33"/>
              </a:xfrm>
              <a:custGeom>
                <a:avLst/>
                <a:gdLst>
                  <a:gd name="T0" fmla="*/ 0 w 54"/>
                  <a:gd name="T1" fmla="*/ 27 h 53"/>
                  <a:gd name="T2" fmla="*/ 0 w 54"/>
                  <a:gd name="T3" fmla="*/ 27 h 53"/>
                  <a:gd name="T4" fmla="*/ 27 w 54"/>
                  <a:gd name="T5" fmla="*/ 53 h 53"/>
                  <a:gd name="T6" fmla="*/ 54 w 54"/>
                  <a:gd name="T7" fmla="*/ 27 h 53"/>
                  <a:gd name="T8" fmla="*/ 27 w 54"/>
                  <a:gd name="T9" fmla="*/ 0 h 53"/>
                  <a:gd name="T10" fmla="*/ 0 w 54"/>
                  <a:gd name="T11" fmla="*/ 2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3">
                    <a:moveTo>
                      <a:pt x="0" y="27"/>
                    </a:moveTo>
                    <a:lnTo>
                      <a:pt x="0" y="27"/>
                    </a:lnTo>
                    <a:cubicBezTo>
                      <a:pt x="0" y="42"/>
                      <a:pt x="12" y="53"/>
                      <a:pt x="27" y="53"/>
                    </a:cubicBezTo>
                    <a:cubicBezTo>
                      <a:pt x="42" y="53"/>
                      <a:pt x="54" y="42"/>
                      <a:pt x="54" y="27"/>
                    </a:cubicBezTo>
                    <a:cubicBezTo>
                      <a:pt x="54" y="12"/>
                      <a:pt x="42" y="0"/>
                      <a:pt x="27" y="0"/>
                    </a:cubicBezTo>
                    <a:cubicBezTo>
                      <a:pt x="12" y="0"/>
                      <a:pt x="0" y="12"/>
                      <a:pt x="0" y="2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Freeform 238">
                <a:extLst>
                  <a:ext uri="{FF2B5EF4-FFF2-40B4-BE49-F238E27FC236}">
                    <a16:creationId xmlns:a16="http://schemas.microsoft.com/office/drawing/2014/main" id="{9E4824F0-536E-4EC8-9759-CEF9DECDD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2868"/>
                <a:ext cx="205" cy="72"/>
              </a:xfrm>
              <a:custGeom>
                <a:avLst/>
                <a:gdLst>
                  <a:gd name="T0" fmla="*/ 311 w 331"/>
                  <a:gd name="T1" fmla="*/ 31 h 116"/>
                  <a:gd name="T2" fmla="*/ 311 w 331"/>
                  <a:gd name="T3" fmla="*/ 31 h 116"/>
                  <a:gd name="T4" fmla="*/ 236 w 331"/>
                  <a:gd name="T5" fmla="*/ 6 h 116"/>
                  <a:gd name="T6" fmla="*/ 192 w 331"/>
                  <a:gd name="T7" fmla="*/ 1 h 116"/>
                  <a:gd name="T8" fmla="*/ 165 w 331"/>
                  <a:gd name="T9" fmla="*/ 0 h 116"/>
                  <a:gd name="T10" fmla="*/ 135 w 331"/>
                  <a:gd name="T11" fmla="*/ 1 h 116"/>
                  <a:gd name="T12" fmla="*/ 90 w 331"/>
                  <a:gd name="T13" fmla="*/ 7 h 116"/>
                  <a:gd name="T14" fmla="*/ 15 w 331"/>
                  <a:gd name="T15" fmla="*/ 34 h 116"/>
                  <a:gd name="T16" fmla="*/ 0 w 331"/>
                  <a:gd name="T17" fmla="*/ 58 h 116"/>
                  <a:gd name="T18" fmla="*/ 165 w 331"/>
                  <a:gd name="T19" fmla="*/ 116 h 116"/>
                  <a:gd name="T20" fmla="*/ 331 w 331"/>
                  <a:gd name="T21" fmla="*/ 58 h 116"/>
                  <a:gd name="T22" fmla="*/ 311 w 331"/>
                  <a:gd name="T23" fmla="*/ 3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1" h="116">
                    <a:moveTo>
                      <a:pt x="311" y="31"/>
                    </a:moveTo>
                    <a:lnTo>
                      <a:pt x="311" y="31"/>
                    </a:lnTo>
                    <a:cubicBezTo>
                      <a:pt x="295" y="20"/>
                      <a:pt x="268" y="11"/>
                      <a:pt x="236" y="6"/>
                    </a:cubicBezTo>
                    <a:cubicBezTo>
                      <a:pt x="223" y="4"/>
                      <a:pt x="208" y="2"/>
                      <a:pt x="192" y="1"/>
                    </a:cubicBezTo>
                    <a:cubicBezTo>
                      <a:pt x="183" y="1"/>
                      <a:pt x="174" y="0"/>
                      <a:pt x="165" y="0"/>
                    </a:cubicBezTo>
                    <a:cubicBezTo>
                      <a:pt x="155" y="0"/>
                      <a:pt x="145" y="1"/>
                      <a:pt x="135" y="1"/>
                    </a:cubicBezTo>
                    <a:cubicBezTo>
                      <a:pt x="119" y="2"/>
                      <a:pt x="104" y="4"/>
                      <a:pt x="90" y="7"/>
                    </a:cubicBezTo>
                    <a:cubicBezTo>
                      <a:pt x="57" y="13"/>
                      <a:pt x="31" y="22"/>
                      <a:pt x="15" y="34"/>
                    </a:cubicBezTo>
                    <a:cubicBezTo>
                      <a:pt x="5" y="41"/>
                      <a:pt x="0" y="50"/>
                      <a:pt x="0" y="58"/>
                    </a:cubicBezTo>
                    <a:cubicBezTo>
                      <a:pt x="0" y="90"/>
                      <a:pt x="74" y="116"/>
                      <a:pt x="165" y="116"/>
                    </a:cubicBezTo>
                    <a:cubicBezTo>
                      <a:pt x="257" y="116"/>
                      <a:pt x="331" y="90"/>
                      <a:pt x="331" y="58"/>
                    </a:cubicBezTo>
                    <a:cubicBezTo>
                      <a:pt x="331" y="48"/>
                      <a:pt x="324" y="39"/>
                      <a:pt x="311" y="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6838670-3011-493F-BD76-5978CFD793CE}"/>
              </a:ext>
            </a:extLst>
          </p:cNvPr>
          <p:cNvGrpSpPr/>
          <p:nvPr/>
        </p:nvGrpSpPr>
        <p:grpSpPr>
          <a:xfrm>
            <a:off x="4492241" y="2513385"/>
            <a:ext cx="638636" cy="576306"/>
            <a:chOff x="4492241" y="2513385"/>
            <a:chExt cx="638636" cy="576306"/>
          </a:xfrm>
        </p:grpSpPr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51148DF5-A7F5-46E1-A0A9-FF2F016F26EB}"/>
                </a:ext>
              </a:extLst>
            </p:cNvPr>
            <p:cNvSpPr txBox="1"/>
            <p:nvPr/>
          </p:nvSpPr>
          <p:spPr>
            <a:xfrm>
              <a:off x="4492241" y="2905025"/>
              <a:ext cx="63863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rketing</a:t>
              </a:r>
            </a:p>
          </p:txBody>
        </p:sp>
        <p:grpSp>
          <p:nvGrpSpPr>
            <p:cNvPr id="202" name="Group 254">
              <a:extLst>
                <a:ext uri="{FF2B5EF4-FFF2-40B4-BE49-F238E27FC236}">
                  <a16:creationId xmlns:a16="http://schemas.microsoft.com/office/drawing/2014/main" id="{44849552-B4B4-4830-9E59-458C02D5626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674387" y="2513385"/>
              <a:ext cx="274345" cy="359091"/>
              <a:chOff x="5053" y="3360"/>
              <a:chExt cx="191" cy="250"/>
            </a:xfrm>
            <a:solidFill>
              <a:schemeClr val="bg1"/>
            </a:solidFill>
          </p:grpSpPr>
          <p:sp>
            <p:nvSpPr>
              <p:cNvPr id="203" name="Freeform 255">
                <a:extLst>
                  <a:ext uri="{FF2B5EF4-FFF2-40B4-BE49-F238E27FC236}">
                    <a16:creationId xmlns:a16="http://schemas.microsoft.com/office/drawing/2014/main" id="{6EEAD7E3-85E0-4B38-9CFC-B182B9C16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3360"/>
                <a:ext cx="132" cy="66"/>
              </a:xfrm>
              <a:custGeom>
                <a:avLst/>
                <a:gdLst>
                  <a:gd name="T0" fmla="*/ 33 w 213"/>
                  <a:gd name="T1" fmla="*/ 77 h 105"/>
                  <a:gd name="T2" fmla="*/ 33 w 213"/>
                  <a:gd name="T3" fmla="*/ 77 h 105"/>
                  <a:gd name="T4" fmla="*/ 50 w 213"/>
                  <a:gd name="T5" fmla="*/ 51 h 105"/>
                  <a:gd name="T6" fmla="*/ 75 w 213"/>
                  <a:gd name="T7" fmla="*/ 33 h 105"/>
                  <a:gd name="T8" fmla="*/ 107 w 213"/>
                  <a:gd name="T9" fmla="*/ 27 h 105"/>
                  <a:gd name="T10" fmla="*/ 139 w 213"/>
                  <a:gd name="T11" fmla="*/ 33 h 105"/>
                  <a:gd name="T12" fmla="*/ 164 w 213"/>
                  <a:gd name="T13" fmla="*/ 51 h 105"/>
                  <a:gd name="T14" fmla="*/ 181 w 213"/>
                  <a:gd name="T15" fmla="*/ 77 h 105"/>
                  <a:gd name="T16" fmla="*/ 187 w 213"/>
                  <a:gd name="T17" fmla="*/ 105 h 105"/>
                  <a:gd name="T18" fmla="*/ 213 w 213"/>
                  <a:gd name="T19" fmla="*/ 105 h 105"/>
                  <a:gd name="T20" fmla="*/ 205 w 213"/>
                  <a:gd name="T21" fmla="*/ 66 h 105"/>
                  <a:gd name="T22" fmla="*/ 183 w 213"/>
                  <a:gd name="T23" fmla="*/ 32 h 105"/>
                  <a:gd name="T24" fmla="*/ 149 w 213"/>
                  <a:gd name="T25" fmla="*/ 8 h 105"/>
                  <a:gd name="T26" fmla="*/ 107 w 213"/>
                  <a:gd name="T27" fmla="*/ 0 h 105"/>
                  <a:gd name="T28" fmla="*/ 65 w 213"/>
                  <a:gd name="T29" fmla="*/ 8 h 105"/>
                  <a:gd name="T30" fmla="*/ 31 w 213"/>
                  <a:gd name="T31" fmla="*/ 32 h 105"/>
                  <a:gd name="T32" fmla="*/ 8 w 213"/>
                  <a:gd name="T33" fmla="*/ 66 h 105"/>
                  <a:gd name="T34" fmla="*/ 0 w 213"/>
                  <a:gd name="T35" fmla="*/ 105 h 105"/>
                  <a:gd name="T36" fmla="*/ 27 w 213"/>
                  <a:gd name="T37" fmla="*/ 105 h 105"/>
                  <a:gd name="T38" fmla="*/ 33 w 213"/>
                  <a:gd name="T39" fmla="*/ 77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3" h="105">
                    <a:moveTo>
                      <a:pt x="33" y="77"/>
                    </a:moveTo>
                    <a:lnTo>
                      <a:pt x="33" y="77"/>
                    </a:lnTo>
                    <a:cubicBezTo>
                      <a:pt x="37" y="67"/>
                      <a:pt x="43" y="58"/>
                      <a:pt x="50" y="51"/>
                    </a:cubicBezTo>
                    <a:cubicBezTo>
                      <a:pt x="57" y="43"/>
                      <a:pt x="65" y="37"/>
                      <a:pt x="75" y="33"/>
                    </a:cubicBezTo>
                    <a:cubicBezTo>
                      <a:pt x="85" y="29"/>
                      <a:pt x="95" y="27"/>
                      <a:pt x="107" y="27"/>
                    </a:cubicBezTo>
                    <a:cubicBezTo>
                      <a:pt x="118" y="27"/>
                      <a:pt x="129" y="29"/>
                      <a:pt x="139" y="33"/>
                    </a:cubicBezTo>
                    <a:cubicBezTo>
                      <a:pt x="148" y="37"/>
                      <a:pt x="157" y="43"/>
                      <a:pt x="164" y="51"/>
                    </a:cubicBezTo>
                    <a:cubicBezTo>
                      <a:pt x="171" y="58"/>
                      <a:pt x="177" y="67"/>
                      <a:pt x="181" y="77"/>
                    </a:cubicBezTo>
                    <a:cubicBezTo>
                      <a:pt x="184" y="86"/>
                      <a:pt x="186" y="95"/>
                      <a:pt x="187" y="105"/>
                    </a:cubicBezTo>
                    <a:lnTo>
                      <a:pt x="213" y="105"/>
                    </a:lnTo>
                    <a:cubicBezTo>
                      <a:pt x="213" y="91"/>
                      <a:pt x="210" y="78"/>
                      <a:pt x="205" y="66"/>
                    </a:cubicBezTo>
                    <a:cubicBezTo>
                      <a:pt x="200" y="53"/>
                      <a:pt x="192" y="42"/>
                      <a:pt x="183" y="32"/>
                    </a:cubicBezTo>
                    <a:cubicBezTo>
                      <a:pt x="173" y="22"/>
                      <a:pt x="162" y="14"/>
                      <a:pt x="149" y="8"/>
                    </a:cubicBezTo>
                    <a:cubicBezTo>
                      <a:pt x="136" y="3"/>
                      <a:pt x="122" y="0"/>
                      <a:pt x="107" y="0"/>
                    </a:cubicBezTo>
                    <a:cubicBezTo>
                      <a:pt x="92" y="0"/>
                      <a:pt x="78" y="3"/>
                      <a:pt x="65" y="8"/>
                    </a:cubicBezTo>
                    <a:cubicBezTo>
                      <a:pt x="52" y="14"/>
                      <a:pt x="40" y="22"/>
                      <a:pt x="31" y="32"/>
                    </a:cubicBezTo>
                    <a:cubicBezTo>
                      <a:pt x="21" y="42"/>
                      <a:pt x="14" y="53"/>
                      <a:pt x="8" y="66"/>
                    </a:cubicBezTo>
                    <a:cubicBezTo>
                      <a:pt x="3" y="78"/>
                      <a:pt x="1" y="91"/>
                      <a:pt x="0" y="105"/>
                    </a:cubicBezTo>
                    <a:lnTo>
                      <a:pt x="27" y="105"/>
                    </a:lnTo>
                    <a:cubicBezTo>
                      <a:pt x="28" y="95"/>
                      <a:pt x="29" y="86"/>
                      <a:pt x="33" y="7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Freeform 256">
                <a:extLst>
                  <a:ext uri="{FF2B5EF4-FFF2-40B4-BE49-F238E27FC236}">
                    <a16:creationId xmlns:a16="http://schemas.microsoft.com/office/drawing/2014/main" id="{03104F94-3654-477F-AC4C-BFD93F2DD0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3" y="3426"/>
                <a:ext cx="191" cy="167"/>
              </a:xfrm>
              <a:custGeom>
                <a:avLst/>
                <a:gdLst>
                  <a:gd name="T0" fmla="*/ 70 w 308"/>
                  <a:gd name="T1" fmla="*/ 51 h 270"/>
                  <a:gd name="T2" fmla="*/ 70 w 308"/>
                  <a:gd name="T3" fmla="*/ 51 h 270"/>
                  <a:gd name="T4" fmla="*/ 61 w 308"/>
                  <a:gd name="T5" fmla="*/ 55 h 270"/>
                  <a:gd name="T6" fmla="*/ 51 w 308"/>
                  <a:gd name="T7" fmla="*/ 51 h 270"/>
                  <a:gd name="T8" fmla="*/ 47 w 308"/>
                  <a:gd name="T9" fmla="*/ 42 h 270"/>
                  <a:gd name="T10" fmla="*/ 51 w 308"/>
                  <a:gd name="T11" fmla="*/ 32 h 270"/>
                  <a:gd name="T12" fmla="*/ 61 w 308"/>
                  <a:gd name="T13" fmla="*/ 28 h 270"/>
                  <a:gd name="T14" fmla="*/ 70 w 308"/>
                  <a:gd name="T15" fmla="*/ 32 h 270"/>
                  <a:gd name="T16" fmla="*/ 74 w 308"/>
                  <a:gd name="T17" fmla="*/ 42 h 270"/>
                  <a:gd name="T18" fmla="*/ 70 w 308"/>
                  <a:gd name="T19" fmla="*/ 51 h 270"/>
                  <a:gd name="T20" fmla="*/ 238 w 308"/>
                  <a:gd name="T21" fmla="*/ 32 h 270"/>
                  <a:gd name="T22" fmla="*/ 238 w 308"/>
                  <a:gd name="T23" fmla="*/ 32 h 270"/>
                  <a:gd name="T24" fmla="*/ 247 w 308"/>
                  <a:gd name="T25" fmla="*/ 28 h 270"/>
                  <a:gd name="T26" fmla="*/ 257 w 308"/>
                  <a:gd name="T27" fmla="*/ 32 h 270"/>
                  <a:gd name="T28" fmla="*/ 261 w 308"/>
                  <a:gd name="T29" fmla="*/ 42 h 270"/>
                  <a:gd name="T30" fmla="*/ 257 w 308"/>
                  <a:gd name="T31" fmla="*/ 51 h 270"/>
                  <a:gd name="T32" fmla="*/ 247 w 308"/>
                  <a:gd name="T33" fmla="*/ 55 h 270"/>
                  <a:gd name="T34" fmla="*/ 238 w 308"/>
                  <a:gd name="T35" fmla="*/ 51 h 270"/>
                  <a:gd name="T36" fmla="*/ 234 w 308"/>
                  <a:gd name="T37" fmla="*/ 42 h 270"/>
                  <a:gd name="T38" fmla="*/ 238 w 308"/>
                  <a:gd name="T39" fmla="*/ 32 h 270"/>
                  <a:gd name="T40" fmla="*/ 154 w 308"/>
                  <a:gd name="T41" fmla="*/ 197 h 270"/>
                  <a:gd name="T42" fmla="*/ 154 w 308"/>
                  <a:gd name="T43" fmla="*/ 197 h 270"/>
                  <a:gd name="T44" fmla="*/ 165 w 308"/>
                  <a:gd name="T45" fmla="*/ 202 h 270"/>
                  <a:gd name="T46" fmla="*/ 308 w 308"/>
                  <a:gd name="T47" fmla="*/ 270 h 270"/>
                  <a:gd name="T48" fmla="*/ 308 w 308"/>
                  <a:gd name="T49" fmla="*/ 82 h 270"/>
                  <a:gd name="T50" fmla="*/ 308 w 308"/>
                  <a:gd name="T51" fmla="*/ 0 h 270"/>
                  <a:gd name="T52" fmla="*/ 260 w 308"/>
                  <a:gd name="T53" fmla="*/ 0 h 270"/>
                  <a:gd name="T54" fmla="*/ 234 w 308"/>
                  <a:gd name="T55" fmla="*/ 0 h 270"/>
                  <a:gd name="T56" fmla="*/ 74 w 308"/>
                  <a:gd name="T57" fmla="*/ 0 h 270"/>
                  <a:gd name="T58" fmla="*/ 47 w 308"/>
                  <a:gd name="T59" fmla="*/ 0 h 270"/>
                  <a:gd name="T60" fmla="*/ 0 w 308"/>
                  <a:gd name="T61" fmla="*/ 0 h 270"/>
                  <a:gd name="T62" fmla="*/ 0 w 308"/>
                  <a:gd name="T63" fmla="*/ 82 h 270"/>
                  <a:gd name="T64" fmla="*/ 0 w 308"/>
                  <a:gd name="T65" fmla="*/ 270 h 270"/>
                  <a:gd name="T66" fmla="*/ 143 w 308"/>
                  <a:gd name="T67" fmla="*/ 202 h 270"/>
                  <a:gd name="T68" fmla="*/ 154 w 308"/>
                  <a:gd name="T69" fmla="*/ 19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8" h="270">
                    <a:moveTo>
                      <a:pt x="70" y="51"/>
                    </a:moveTo>
                    <a:lnTo>
                      <a:pt x="70" y="51"/>
                    </a:lnTo>
                    <a:cubicBezTo>
                      <a:pt x="67" y="54"/>
                      <a:pt x="64" y="55"/>
                      <a:pt x="61" y="55"/>
                    </a:cubicBezTo>
                    <a:cubicBezTo>
                      <a:pt x="57" y="55"/>
                      <a:pt x="54" y="54"/>
                      <a:pt x="51" y="51"/>
                    </a:cubicBezTo>
                    <a:cubicBezTo>
                      <a:pt x="48" y="48"/>
                      <a:pt x="47" y="45"/>
                      <a:pt x="47" y="42"/>
                    </a:cubicBezTo>
                    <a:cubicBezTo>
                      <a:pt x="47" y="38"/>
                      <a:pt x="48" y="35"/>
                      <a:pt x="51" y="32"/>
                    </a:cubicBezTo>
                    <a:cubicBezTo>
                      <a:pt x="54" y="30"/>
                      <a:pt x="57" y="28"/>
                      <a:pt x="61" y="28"/>
                    </a:cubicBezTo>
                    <a:cubicBezTo>
                      <a:pt x="64" y="28"/>
                      <a:pt x="67" y="30"/>
                      <a:pt x="70" y="32"/>
                    </a:cubicBezTo>
                    <a:cubicBezTo>
                      <a:pt x="73" y="35"/>
                      <a:pt x="74" y="38"/>
                      <a:pt x="74" y="42"/>
                    </a:cubicBezTo>
                    <a:cubicBezTo>
                      <a:pt x="74" y="45"/>
                      <a:pt x="73" y="48"/>
                      <a:pt x="70" y="51"/>
                    </a:cubicBezTo>
                    <a:close/>
                    <a:moveTo>
                      <a:pt x="238" y="32"/>
                    </a:moveTo>
                    <a:lnTo>
                      <a:pt x="238" y="32"/>
                    </a:lnTo>
                    <a:cubicBezTo>
                      <a:pt x="240" y="30"/>
                      <a:pt x="244" y="28"/>
                      <a:pt x="247" y="28"/>
                    </a:cubicBezTo>
                    <a:cubicBezTo>
                      <a:pt x="251" y="28"/>
                      <a:pt x="254" y="30"/>
                      <a:pt x="257" y="32"/>
                    </a:cubicBezTo>
                    <a:cubicBezTo>
                      <a:pt x="259" y="35"/>
                      <a:pt x="261" y="38"/>
                      <a:pt x="261" y="42"/>
                    </a:cubicBezTo>
                    <a:cubicBezTo>
                      <a:pt x="261" y="45"/>
                      <a:pt x="259" y="48"/>
                      <a:pt x="257" y="51"/>
                    </a:cubicBezTo>
                    <a:cubicBezTo>
                      <a:pt x="254" y="54"/>
                      <a:pt x="251" y="55"/>
                      <a:pt x="247" y="55"/>
                    </a:cubicBezTo>
                    <a:cubicBezTo>
                      <a:pt x="244" y="55"/>
                      <a:pt x="240" y="54"/>
                      <a:pt x="238" y="51"/>
                    </a:cubicBezTo>
                    <a:cubicBezTo>
                      <a:pt x="235" y="48"/>
                      <a:pt x="234" y="45"/>
                      <a:pt x="234" y="42"/>
                    </a:cubicBezTo>
                    <a:cubicBezTo>
                      <a:pt x="234" y="38"/>
                      <a:pt x="235" y="35"/>
                      <a:pt x="238" y="32"/>
                    </a:cubicBezTo>
                    <a:close/>
                    <a:moveTo>
                      <a:pt x="154" y="197"/>
                    </a:moveTo>
                    <a:lnTo>
                      <a:pt x="154" y="197"/>
                    </a:lnTo>
                    <a:lnTo>
                      <a:pt x="165" y="202"/>
                    </a:lnTo>
                    <a:lnTo>
                      <a:pt x="308" y="270"/>
                    </a:lnTo>
                    <a:lnTo>
                      <a:pt x="308" y="82"/>
                    </a:lnTo>
                    <a:lnTo>
                      <a:pt x="308" y="0"/>
                    </a:lnTo>
                    <a:lnTo>
                      <a:pt x="260" y="0"/>
                    </a:lnTo>
                    <a:lnTo>
                      <a:pt x="234" y="0"/>
                    </a:lnTo>
                    <a:lnTo>
                      <a:pt x="74" y="0"/>
                    </a:lnTo>
                    <a:lnTo>
                      <a:pt x="47" y="0"/>
                    </a:lnTo>
                    <a:lnTo>
                      <a:pt x="0" y="0"/>
                    </a:lnTo>
                    <a:lnTo>
                      <a:pt x="0" y="82"/>
                    </a:lnTo>
                    <a:lnTo>
                      <a:pt x="0" y="270"/>
                    </a:lnTo>
                    <a:lnTo>
                      <a:pt x="143" y="202"/>
                    </a:lnTo>
                    <a:lnTo>
                      <a:pt x="154" y="19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Freeform 259">
                <a:extLst>
                  <a:ext uri="{FF2B5EF4-FFF2-40B4-BE49-F238E27FC236}">
                    <a16:creationId xmlns:a16="http://schemas.microsoft.com/office/drawing/2014/main" id="{BADA733A-3EC1-463C-A38C-4C534529B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" y="3565"/>
                <a:ext cx="190" cy="45"/>
              </a:xfrm>
              <a:custGeom>
                <a:avLst/>
                <a:gdLst>
                  <a:gd name="T0" fmla="*/ 153 w 305"/>
                  <a:gd name="T1" fmla="*/ 0 h 72"/>
                  <a:gd name="T2" fmla="*/ 153 w 305"/>
                  <a:gd name="T3" fmla="*/ 0 h 72"/>
                  <a:gd name="T4" fmla="*/ 0 w 305"/>
                  <a:gd name="T5" fmla="*/ 72 h 72"/>
                  <a:gd name="T6" fmla="*/ 153 w 305"/>
                  <a:gd name="T7" fmla="*/ 72 h 72"/>
                  <a:gd name="T8" fmla="*/ 305 w 305"/>
                  <a:gd name="T9" fmla="*/ 72 h 72"/>
                  <a:gd name="T10" fmla="*/ 153 w 305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5" h="72">
                    <a:moveTo>
                      <a:pt x="153" y="0"/>
                    </a:moveTo>
                    <a:lnTo>
                      <a:pt x="153" y="0"/>
                    </a:lnTo>
                    <a:lnTo>
                      <a:pt x="0" y="72"/>
                    </a:lnTo>
                    <a:lnTo>
                      <a:pt x="153" y="72"/>
                    </a:lnTo>
                    <a:lnTo>
                      <a:pt x="305" y="72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F48B71F-92C3-4B33-8A87-8A2C119D61D6}"/>
              </a:ext>
            </a:extLst>
          </p:cNvPr>
          <p:cNvGrpSpPr/>
          <p:nvPr/>
        </p:nvGrpSpPr>
        <p:grpSpPr>
          <a:xfrm>
            <a:off x="4054880" y="5202468"/>
            <a:ext cx="4076608" cy="1438060"/>
            <a:chOff x="4054880" y="5202468"/>
            <a:chExt cx="4076608" cy="1438060"/>
          </a:xfrm>
        </p:grpSpPr>
        <p:sp>
          <p:nvSpPr>
            <p:cNvPr id="207" name="Data">
              <a:extLst>
                <a:ext uri="{FF2B5EF4-FFF2-40B4-BE49-F238E27FC236}">
                  <a16:creationId xmlns:a16="http://schemas.microsoft.com/office/drawing/2014/main" id="{873857A9-9DA8-4265-B4D1-E1C0A0902F2F}"/>
                </a:ext>
              </a:extLst>
            </p:cNvPr>
            <p:cNvSpPr txBox="1"/>
            <p:nvPr/>
          </p:nvSpPr>
          <p:spPr>
            <a:xfrm>
              <a:off x="4605453" y="5534094"/>
              <a:ext cx="2981096" cy="1106434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Down">
                <a:avLst>
                  <a:gd name="adj" fmla="val 102210"/>
                </a:avLst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 dirty="0">
                  <a:ln>
                    <a:noFill/>
                  </a:ln>
                  <a:solidFill>
                    <a:srgbClr val="56545B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Power Platform</a:t>
              </a:r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63647CE4-1AB1-4887-87D6-0AC46A50AAE4}"/>
                </a:ext>
              </a:extLst>
            </p:cNvPr>
            <p:cNvGrpSpPr/>
            <p:nvPr/>
          </p:nvGrpSpPr>
          <p:grpSpPr>
            <a:xfrm>
              <a:off x="4054880" y="5202468"/>
              <a:ext cx="4076608" cy="1106731"/>
              <a:chOff x="4054880" y="5202468"/>
              <a:chExt cx="4076608" cy="1106731"/>
            </a:xfrm>
          </p:grpSpPr>
          <p:sp>
            <p:nvSpPr>
              <p:cNvPr id="209" name="Arc 126">
                <a:extLst>
                  <a:ext uri="{FF2B5EF4-FFF2-40B4-BE49-F238E27FC236}">
                    <a16:creationId xmlns:a16="http://schemas.microsoft.com/office/drawing/2014/main" id="{E684E07D-6A77-4ED0-B864-F55AFC31E2AE}"/>
                  </a:ext>
                </a:extLst>
              </p:cNvPr>
              <p:cNvSpPr/>
              <p:nvPr/>
            </p:nvSpPr>
            <p:spPr>
              <a:xfrm flipV="1">
                <a:off x="4054880" y="5202468"/>
                <a:ext cx="4076608" cy="947501"/>
              </a:xfrm>
              <a:custGeom>
                <a:avLst/>
                <a:gdLst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3" fmla="*/ 2672256 w 5344512"/>
                  <a:gd name="connsiteY3" fmla="*/ 2672255 h 5344510"/>
                  <a:gd name="connsiteX4" fmla="*/ 631136 w 5344512"/>
                  <a:gd name="connsiteY4" fmla="*/ 947501 h 5344510"/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0" fmla="*/ 2041120 w 4076608"/>
                  <a:gd name="connsiteY0" fmla="*/ 2672255 h 2763695"/>
                  <a:gd name="connsiteX1" fmla="*/ 0 w 4076608"/>
                  <a:gd name="connsiteY1" fmla="*/ 947501 h 2763695"/>
                  <a:gd name="connsiteX2" fmla="*/ 2036765 w 4076608"/>
                  <a:gd name="connsiteY2" fmla="*/ 4 h 2763695"/>
                  <a:gd name="connsiteX3" fmla="*/ 4076608 w 4076608"/>
                  <a:gd name="connsiteY3" fmla="*/ 940857 h 2763695"/>
                  <a:gd name="connsiteX4" fmla="*/ 2132560 w 4076608"/>
                  <a:gd name="connsiteY4" fmla="*/ 2763695 h 2763695"/>
                  <a:gd name="connsiteX0" fmla="*/ 0 w 4076608"/>
                  <a:gd name="connsiteY0" fmla="*/ 947501 h 2763695"/>
                  <a:gd name="connsiteX1" fmla="*/ 2036765 w 4076608"/>
                  <a:gd name="connsiteY1" fmla="*/ 4 h 2763695"/>
                  <a:gd name="connsiteX2" fmla="*/ 4076608 w 4076608"/>
                  <a:gd name="connsiteY2" fmla="*/ 940857 h 2763695"/>
                  <a:gd name="connsiteX0" fmla="*/ 2041120 w 4076608"/>
                  <a:gd name="connsiteY0" fmla="*/ 2672255 h 2672255"/>
                  <a:gd name="connsiteX1" fmla="*/ 0 w 4076608"/>
                  <a:gd name="connsiteY1" fmla="*/ 947501 h 2672255"/>
                  <a:gd name="connsiteX2" fmla="*/ 2036765 w 4076608"/>
                  <a:gd name="connsiteY2" fmla="*/ 4 h 2672255"/>
                  <a:gd name="connsiteX3" fmla="*/ 4076608 w 4076608"/>
                  <a:gd name="connsiteY3" fmla="*/ 940857 h 2672255"/>
                  <a:gd name="connsiteX0" fmla="*/ 0 w 4076608"/>
                  <a:gd name="connsiteY0" fmla="*/ 947501 h 2672255"/>
                  <a:gd name="connsiteX1" fmla="*/ 2036765 w 4076608"/>
                  <a:gd name="connsiteY1" fmla="*/ 4 h 2672255"/>
                  <a:gd name="connsiteX2" fmla="*/ 4076608 w 4076608"/>
                  <a:gd name="connsiteY2" fmla="*/ 940857 h 2672255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76608" h="947501" stroke="0" extrusionOk="0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  <a:path w="4076608" h="947501" fill="none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</a:pathLst>
              </a:custGeom>
              <a:noFill/>
              <a:ln w="12700" cap="rnd" cmpd="sng" algn="ctr">
                <a:solidFill>
                  <a:schemeClr val="tx2"/>
                </a:solidFill>
                <a:prstDash val="sysDash"/>
                <a:headEnd type="oval" w="sm" len="sm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8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7FFCB4BF-CE54-42A8-8568-84BF328291B6}"/>
                  </a:ext>
                </a:extLst>
              </p:cNvPr>
              <p:cNvGrpSpPr/>
              <p:nvPr/>
            </p:nvGrpSpPr>
            <p:grpSpPr>
              <a:xfrm>
                <a:off x="4373619" y="5458316"/>
                <a:ext cx="440917" cy="440917"/>
                <a:chOff x="4373619" y="5458316"/>
                <a:chExt cx="440917" cy="440917"/>
              </a:xfrm>
            </p:grpSpPr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D7F2D194-50E1-4E8B-AEF5-F3D960CE7EBC}"/>
                    </a:ext>
                  </a:extLst>
                </p:cNvPr>
                <p:cNvSpPr/>
                <p:nvPr/>
              </p:nvSpPr>
              <p:spPr>
                <a:xfrm>
                  <a:off x="4373619" y="5458316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18" name="Picture 8" descr="Image result for power bi logo">
                  <a:extLst>
                    <a:ext uri="{FF2B5EF4-FFF2-40B4-BE49-F238E27FC236}">
                      <a16:creationId xmlns:a16="http://schemas.microsoft.com/office/drawing/2014/main" id="{E331F8A3-BF11-4C4D-B55A-E4C69C957AD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" cstate="screen">
                  <a:clrChange>
                    <a:clrFrom>
                      <a:srgbClr val="F4F5F4"/>
                    </a:clrFrom>
                    <a:clrTo>
                      <a:srgbClr val="F4F5F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8958" t="5413" r="8958" b="37804"/>
                <a:stretch/>
              </p:blipFill>
              <p:spPr bwMode="auto">
                <a:xfrm>
                  <a:off x="4440912" y="5564148"/>
                  <a:ext cx="306332" cy="22925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FC868D2C-33E9-4C3B-AA6D-AA7AA7CC041D}"/>
                  </a:ext>
                </a:extLst>
              </p:cNvPr>
              <p:cNvGrpSpPr/>
              <p:nvPr/>
            </p:nvGrpSpPr>
            <p:grpSpPr>
              <a:xfrm>
                <a:off x="5437827" y="5868282"/>
                <a:ext cx="440917" cy="440917"/>
                <a:chOff x="5437827" y="5868282"/>
                <a:chExt cx="440917" cy="440917"/>
              </a:xfrm>
            </p:grpSpPr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FF60366B-25BB-4680-83AE-E2C38113FFAF}"/>
                    </a:ext>
                  </a:extLst>
                </p:cNvPr>
                <p:cNvSpPr/>
                <p:nvPr/>
              </p:nvSpPr>
              <p:spPr>
                <a:xfrm>
                  <a:off x="5437827" y="5868282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16" name="Picture 12" descr="Image result for power apps flow logo">
                  <a:extLst>
                    <a:ext uri="{FF2B5EF4-FFF2-40B4-BE49-F238E27FC236}">
                      <a16:creationId xmlns:a16="http://schemas.microsoft.com/office/drawing/2014/main" id="{DF457B08-1B3C-4706-972C-CF7888BE40D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22008" r="22008"/>
                <a:stretch/>
              </p:blipFill>
              <p:spPr bwMode="auto">
                <a:xfrm>
                  <a:off x="5524728" y="5973890"/>
                  <a:ext cx="267114" cy="22970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6089F897-738E-468D-8941-41F8BF53A98B}"/>
                  </a:ext>
                </a:extLst>
              </p:cNvPr>
              <p:cNvGrpSpPr/>
              <p:nvPr/>
            </p:nvGrpSpPr>
            <p:grpSpPr>
              <a:xfrm>
                <a:off x="6634242" y="5819366"/>
                <a:ext cx="440917" cy="440917"/>
                <a:chOff x="6634242" y="5819366"/>
                <a:chExt cx="440917" cy="440917"/>
              </a:xfrm>
            </p:grpSpPr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36B336E6-A7A3-4A59-B097-5316DE613F39}"/>
                    </a:ext>
                  </a:extLst>
                </p:cNvPr>
                <p:cNvSpPr/>
                <p:nvPr/>
              </p:nvSpPr>
              <p:spPr>
                <a:xfrm>
                  <a:off x="6634242" y="5819366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14" name="Picture 14" descr="Image result for power apps logo">
                  <a:extLst>
                    <a:ext uri="{FF2B5EF4-FFF2-40B4-BE49-F238E27FC236}">
                      <a16:creationId xmlns:a16="http://schemas.microsoft.com/office/drawing/2014/main" id="{A591FE56-E010-4D2B-9B43-03C6512148B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711118" y="5929679"/>
                  <a:ext cx="287164" cy="22029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2B80A50-2945-4C7C-9CE1-CC1FD790C24F}"/>
              </a:ext>
            </a:extLst>
          </p:cNvPr>
          <p:cNvGrpSpPr/>
          <p:nvPr/>
        </p:nvGrpSpPr>
        <p:grpSpPr>
          <a:xfrm>
            <a:off x="4054880" y="386438"/>
            <a:ext cx="4076608" cy="1317807"/>
            <a:chOff x="4054880" y="386438"/>
            <a:chExt cx="4076608" cy="1317807"/>
          </a:xfrm>
        </p:grpSpPr>
        <p:sp>
          <p:nvSpPr>
            <p:cNvPr id="220" name="Data">
              <a:extLst>
                <a:ext uri="{FF2B5EF4-FFF2-40B4-BE49-F238E27FC236}">
                  <a16:creationId xmlns:a16="http://schemas.microsoft.com/office/drawing/2014/main" id="{3AE50C81-6A3F-400E-98A5-B88EB97C4C51}"/>
                </a:ext>
              </a:extLst>
            </p:cNvPr>
            <p:cNvSpPr txBox="1"/>
            <p:nvPr/>
          </p:nvSpPr>
          <p:spPr>
            <a:xfrm>
              <a:off x="4920062" y="386438"/>
              <a:ext cx="2351878" cy="932456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 anchor="t" anchorCtr="0">
              <a:prstTxWarp prst="textArchUp">
                <a:avLst>
                  <a:gd name="adj" fmla="val 11974182"/>
                </a:avLst>
              </a:prstTxWarp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300" normalizeH="0" baseline="0" noProof="0" dirty="0">
                  <a:ln>
                    <a:noFill/>
                  </a:ln>
                  <a:solidFill>
                    <a:srgbClr val="56545B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Segoe UI Light" panose="020B0502040204020203" pitchFamily="34" charset="0"/>
                </a:rPr>
                <a:t>Microsoft 365</a:t>
              </a:r>
            </a:p>
          </p:txBody>
        </p: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F016682A-521E-47BF-AB88-4C89B360410E}"/>
                </a:ext>
              </a:extLst>
            </p:cNvPr>
            <p:cNvGrpSpPr/>
            <p:nvPr/>
          </p:nvGrpSpPr>
          <p:grpSpPr>
            <a:xfrm>
              <a:off x="4054880" y="525450"/>
              <a:ext cx="4076608" cy="1178795"/>
              <a:chOff x="4054880" y="525450"/>
              <a:chExt cx="4076608" cy="1178795"/>
            </a:xfrm>
          </p:grpSpPr>
          <p:sp>
            <p:nvSpPr>
              <p:cNvPr id="222" name="Arc 107">
                <a:extLst>
                  <a:ext uri="{FF2B5EF4-FFF2-40B4-BE49-F238E27FC236}">
                    <a16:creationId xmlns:a16="http://schemas.microsoft.com/office/drawing/2014/main" id="{4279593E-9A99-40EE-B70B-455795C38B71}"/>
                  </a:ext>
                </a:extLst>
              </p:cNvPr>
              <p:cNvSpPr/>
              <p:nvPr/>
            </p:nvSpPr>
            <p:spPr>
              <a:xfrm>
                <a:off x="4054880" y="756744"/>
                <a:ext cx="4076608" cy="947501"/>
              </a:xfrm>
              <a:custGeom>
                <a:avLst/>
                <a:gdLst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3" fmla="*/ 2672256 w 5344512"/>
                  <a:gd name="connsiteY3" fmla="*/ 2672255 h 5344510"/>
                  <a:gd name="connsiteX4" fmla="*/ 631136 w 5344512"/>
                  <a:gd name="connsiteY4" fmla="*/ 947501 h 5344510"/>
                  <a:gd name="connsiteX0" fmla="*/ 631136 w 5344512"/>
                  <a:gd name="connsiteY0" fmla="*/ 947501 h 5344510"/>
                  <a:gd name="connsiteX1" fmla="*/ 2667901 w 5344512"/>
                  <a:gd name="connsiteY1" fmla="*/ 4 h 5344510"/>
                  <a:gd name="connsiteX2" fmla="*/ 4707744 w 5344512"/>
                  <a:gd name="connsiteY2" fmla="*/ 940857 h 5344510"/>
                  <a:gd name="connsiteX0" fmla="*/ 2041120 w 4076608"/>
                  <a:gd name="connsiteY0" fmla="*/ 2672255 h 2763695"/>
                  <a:gd name="connsiteX1" fmla="*/ 0 w 4076608"/>
                  <a:gd name="connsiteY1" fmla="*/ 947501 h 2763695"/>
                  <a:gd name="connsiteX2" fmla="*/ 2036765 w 4076608"/>
                  <a:gd name="connsiteY2" fmla="*/ 4 h 2763695"/>
                  <a:gd name="connsiteX3" fmla="*/ 4076608 w 4076608"/>
                  <a:gd name="connsiteY3" fmla="*/ 940857 h 2763695"/>
                  <a:gd name="connsiteX4" fmla="*/ 2132560 w 4076608"/>
                  <a:gd name="connsiteY4" fmla="*/ 2763695 h 2763695"/>
                  <a:gd name="connsiteX0" fmla="*/ 0 w 4076608"/>
                  <a:gd name="connsiteY0" fmla="*/ 947501 h 2763695"/>
                  <a:gd name="connsiteX1" fmla="*/ 2036765 w 4076608"/>
                  <a:gd name="connsiteY1" fmla="*/ 4 h 2763695"/>
                  <a:gd name="connsiteX2" fmla="*/ 4076608 w 4076608"/>
                  <a:gd name="connsiteY2" fmla="*/ 940857 h 2763695"/>
                  <a:gd name="connsiteX0" fmla="*/ 2041120 w 4076608"/>
                  <a:gd name="connsiteY0" fmla="*/ 2672255 h 2672255"/>
                  <a:gd name="connsiteX1" fmla="*/ 0 w 4076608"/>
                  <a:gd name="connsiteY1" fmla="*/ 947501 h 2672255"/>
                  <a:gd name="connsiteX2" fmla="*/ 2036765 w 4076608"/>
                  <a:gd name="connsiteY2" fmla="*/ 4 h 2672255"/>
                  <a:gd name="connsiteX3" fmla="*/ 4076608 w 4076608"/>
                  <a:gd name="connsiteY3" fmla="*/ 940857 h 2672255"/>
                  <a:gd name="connsiteX0" fmla="*/ 0 w 4076608"/>
                  <a:gd name="connsiteY0" fmla="*/ 947501 h 2672255"/>
                  <a:gd name="connsiteX1" fmla="*/ 2036765 w 4076608"/>
                  <a:gd name="connsiteY1" fmla="*/ 4 h 2672255"/>
                  <a:gd name="connsiteX2" fmla="*/ 4076608 w 4076608"/>
                  <a:gd name="connsiteY2" fmla="*/ 940857 h 2672255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  <a:gd name="connsiteX0" fmla="*/ 0 w 4076608"/>
                  <a:gd name="connsiteY0" fmla="*/ 947501 h 947501"/>
                  <a:gd name="connsiteX1" fmla="*/ 2036765 w 4076608"/>
                  <a:gd name="connsiteY1" fmla="*/ 4 h 947501"/>
                  <a:gd name="connsiteX2" fmla="*/ 4076608 w 4076608"/>
                  <a:gd name="connsiteY2" fmla="*/ 940857 h 947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76608" h="947501" stroke="0" extrusionOk="0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  <a:path w="4076608" h="947501" fill="none">
                    <a:moveTo>
                      <a:pt x="0" y="947501"/>
                    </a:moveTo>
                    <a:cubicBezTo>
                      <a:pt x="506759" y="347789"/>
                      <a:pt x="1251617" y="1284"/>
                      <a:pt x="2036765" y="4"/>
                    </a:cubicBezTo>
                    <a:cubicBezTo>
                      <a:pt x="2821913" y="-1276"/>
                      <a:pt x="3567896" y="342800"/>
                      <a:pt x="4076608" y="940857"/>
                    </a:cubicBezTo>
                  </a:path>
                </a:pathLst>
              </a:custGeom>
              <a:noFill/>
              <a:ln w="12700" cap="rnd" cmpd="sng" algn="ctr">
                <a:solidFill>
                  <a:schemeClr val="tx2"/>
                </a:solidFill>
                <a:prstDash val="sysDash"/>
                <a:headEnd type="oval" w="sm" len="sm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8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23" name="Group 222">
                <a:extLst>
                  <a:ext uri="{FF2B5EF4-FFF2-40B4-BE49-F238E27FC236}">
                    <a16:creationId xmlns:a16="http://schemas.microsoft.com/office/drawing/2014/main" id="{E132D351-9902-41E4-A265-E85A8AD88B52}"/>
                  </a:ext>
                </a:extLst>
              </p:cNvPr>
              <p:cNvGrpSpPr/>
              <p:nvPr/>
            </p:nvGrpSpPr>
            <p:grpSpPr>
              <a:xfrm>
                <a:off x="4373619" y="1007481"/>
                <a:ext cx="440917" cy="440917"/>
                <a:chOff x="4373619" y="1007481"/>
                <a:chExt cx="440917" cy="440917"/>
              </a:xfrm>
            </p:grpSpPr>
            <p:sp>
              <p:nvSpPr>
                <p:cNvPr id="230" name="Oval 229">
                  <a:extLst>
                    <a:ext uri="{FF2B5EF4-FFF2-40B4-BE49-F238E27FC236}">
                      <a16:creationId xmlns:a16="http://schemas.microsoft.com/office/drawing/2014/main" id="{55767FE8-D984-4D82-8813-66BD11988DC9}"/>
                    </a:ext>
                  </a:extLst>
                </p:cNvPr>
                <p:cNvSpPr/>
                <p:nvPr/>
              </p:nvSpPr>
              <p:spPr>
                <a:xfrm>
                  <a:off x="4373619" y="1007481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31" name="Picture 2" descr="Image result for sharepoint logo">
                  <a:extLst>
                    <a:ext uri="{FF2B5EF4-FFF2-40B4-BE49-F238E27FC236}">
                      <a16:creationId xmlns:a16="http://schemas.microsoft.com/office/drawing/2014/main" id="{DA24747B-05F3-4ADC-A9A5-1BAF17545D9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21216" t="22235" r="21216" b="22235"/>
                <a:stretch/>
              </p:blipFill>
              <p:spPr bwMode="auto">
                <a:xfrm>
                  <a:off x="4460305" y="1098904"/>
                  <a:ext cx="267546" cy="25807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24" name="Group 223">
                <a:extLst>
                  <a:ext uri="{FF2B5EF4-FFF2-40B4-BE49-F238E27FC236}">
                    <a16:creationId xmlns:a16="http://schemas.microsoft.com/office/drawing/2014/main" id="{60E857C1-1E39-4234-B8E8-1B43C71DFAC4}"/>
                  </a:ext>
                </a:extLst>
              </p:cNvPr>
              <p:cNvGrpSpPr/>
              <p:nvPr/>
            </p:nvGrpSpPr>
            <p:grpSpPr>
              <a:xfrm>
                <a:off x="7404519" y="1007481"/>
                <a:ext cx="440917" cy="440917"/>
                <a:chOff x="7404519" y="1007481"/>
                <a:chExt cx="440917" cy="440917"/>
              </a:xfrm>
            </p:grpSpPr>
            <p:sp>
              <p:nvSpPr>
                <p:cNvPr id="228" name="Oval 227">
                  <a:extLst>
                    <a:ext uri="{FF2B5EF4-FFF2-40B4-BE49-F238E27FC236}">
                      <a16:creationId xmlns:a16="http://schemas.microsoft.com/office/drawing/2014/main" id="{8CD3A9B8-A87C-454E-85FB-A85F0C201E00}"/>
                    </a:ext>
                  </a:extLst>
                </p:cNvPr>
                <p:cNvSpPr/>
                <p:nvPr/>
              </p:nvSpPr>
              <p:spPr>
                <a:xfrm>
                  <a:off x="7404519" y="1007481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29" name="Picture 6" descr="Image result for MS team logo">
                  <a:extLst>
                    <a:ext uri="{FF2B5EF4-FFF2-40B4-BE49-F238E27FC236}">
                      <a16:creationId xmlns:a16="http://schemas.microsoft.com/office/drawing/2014/main" id="{89CFE835-9D54-4731-ACA7-99AEF301590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97132" y="1101791"/>
                  <a:ext cx="255691" cy="2522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25" name="Group 224">
                <a:extLst>
                  <a:ext uri="{FF2B5EF4-FFF2-40B4-BE49-F238E27FC236}">
                    <a16:creationId xmlns:a16="http://schemas.microsoft.com/office/drawing/2014/main" id="{55236F22-61BE-4280-8097-0710D99FA999}"/>
                  </a:ext>
                </a:extLst>
              </p:cNvPr>
              <p:cNvGrpSpPr/>
              <p:nvPr/>
            </p:nvGrpSpPr>
            <p:grpSpPr>
              <a:xfrm>
                <a:off x="5825190" y="525450"/>
                <a:ext cx="440917" cy="440917"/>
                <a:chOff x="5825190" y="525450"/>
                <a:chExt cx="440917" cy="440917"/>
              </a:xfrm>
            </p:grpSpPr>
            <p:sp>
              <p:nvSpPr>
                <p:cNvPr id="226" name="Oval 225">
                  <a:extLst>
                    <a:ext uri="{FF2B5EF4-FFF2-40B4-BE49-F238E27FC236}">
                      <a16:creationId xmlns:a16="http://schemas.microsoft.com/office/drawing/2014/main" id="{8015FF6F-2785-423D-8BEB-0C3694D21E80}"/>
                    </a:ext>
                  </a:extLst>
                </p:cNvPr>
                <p:cNvSpPr/>
                <p:nvPr/>
              </p:nvSpPr>
              <p:spPr>
                <a:xfrm>
                  <a:off x="5825190" y="525450"/>
                  <a:ext cx="440917" cy="44091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227" name="Picture 4" descr="Image result for office 365 logo">
                  <a:extLst>
                    <a:ext uri="{FF2B5EF4-FFF2-40B4-BE49-F238E27FC236}">
                      <a16:creationId xmlns:a16="http://schemas.microsoft.com/office/drawing/2014/main" id="{997CE55C-CB93-49E8-B8B3-8B3AA5C9D01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32489" t="26284" r="32489" b="24121"/>
                <a:stretch/>
              </p:blipFill>
              <p:spPr bwMode="auto">
                <a:xfrm>
                  <a:off x="5920244" y="612799"/>
                  <a:ext cx="250808" cy="26621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id="{EE1939BB-DB1F-408D-8BF9-2F9C700EEC13}"/>
              </a:ext>
            </a:extLst>
          </p:cNvPr>
          <p:cNvSpPr txBox="1"/>
          <p:nvPr/>
        </p:nvSpPr>
        <p:spPr>
          <a:xfrm>
            <a:off x="822593" y="3513457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Transformed experiences</a:t>
            </a:r>
          </a:p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 across, mobile, social,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mixed reality, and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modular applications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6545B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44C10E4E-16A6-4D57-8C72-17393436D59F}"/>
              </a:ext>
            </a:extLst>
          </p:cNvPr>
          <p:cNvSpPr txBox="1"/>
          <p:nvPr/>
        </p:nvSpPr>
        <p:spPr>
          <a:xfrm>
            <a:off x="2271830" y="3519336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Flexible, scalable 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Trusted Microsoft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cloud and security 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01458BAC-B1BA-43EB-90D9-FF25F94D5BD1}"/>
              </a:ext>
            </a:extLst>
          </p:cNvPr>
          <p:cNvSpPr txBox="1"/>
          <p:nvPr/>
        </p:nvSpPr>
        <p:spPr>
          <a:xfrm>
            <a:off x="8642357" y="3495957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Unified and intelligent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data and processes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Rapid deployment, onboarding, and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quicker time to value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Recognized as an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industry leader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4DCEAD5F-38B0-46D3-B57F-C5C3714D9273}"/>
              </a:ext>
            </a:extLst>
          </p:cNvPr>
          <p:cNvSpPr txBox="1"/>
          <p:nvPr/>
        </p:nvSpPr>
        <p:spPr>
          <a:xfrm>
            <a:off x="10049731" y="3495957"/>
            <a:ext cx="1280160" cy="1554480"/>
          </a:xfrm>
          <a:prstGeom prst="rect">
            <a:avLst/>
          </a:prstGeom>
          <a:noFill/>
        </p:spPr>
        <p:txBody>
          <a:bodyPr wrap="square" lIns="89642" tIns="89642" rIns="89642" bIns="143428" rtlCol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  <a:t>Continued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  <a:t>featur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Segoe UI" panose="020B0502040204020203" pitchFamily="34" charset="0"/>
              </a:rPr>
              <a:t>investmen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6545B"/>
                </a:solidFill>
                <a:effectLst/>
                <a:uLnTx/>
                <a:uFillTx/>
                <a:latin typeface="Segoe UI"/>
                <a:ea typeface="DengXian" panose="02010600030101010101" pitchFamily="2" charset="-122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2A3F3EE5-CE31-4314-A612-349531EBE304}"/>
              </a:ext>
            </a:extLst>
          </p:cNvPr>
          <p:cNvGrpSpPr/>
          <p:nvPr/>
        </p:nvGrpSpPr>
        <p:grpSpPr>
          <a:xfrm>
            <a:off x="520700" y="285167"/>
            <a:ext cx="2674633" cy="995698"/>
            <a:chOff x="520700" y="475648"/>
            <a:chExt cx="2674633" cy="995698"/>
          </a:xfrm>
        </p:grpSpPr>
        <p:sp>
          <p:nvSpPr>
            <p:cNvPr id="238" name="Text Placeholder 6">
              <a:extLst>
                <a:ext uri="{FF2B5EF4-FFF2-40B4-BE49-F238E27FC236}">
                  <a16:creationId xmlns:a16="http://schemas.microsoft.com/office/drawing/2014/main" id="{2683C1F8-599A-4F42-8AA9-603078BD1156}"/>
                </a:ext>
              </a:extLst>
            </p:cNvPr>
            <p:cNvSpPr txBox="1">
              <a:spLocks/>
            </p:cNvSpPr>
            <p:nvPr/>
          </p:nvSpPr>
          <p:spPr>
            <a:xfrm>
              <a:off x="529223" y="1105645"/>
              <a:ext cx="2666110" cy="365701"/>
            </a:xfrm>
            <a:prstGeom prst="rect">
              <a:avLst/>
            </a:prstGeom>
          </p:spPr>
          <p:txBody>
            <a:bodyPr vert="horz" wrap="square" lIns="0" tIns="89642" rIns="143428" bIns="89642" rtlCol="0">
              <a:spAutoFit/>
            </a:bodyPr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800" kern="1200" spc="0" baseline="0">
                  <a:gradFill>
                    <a:gsLst>
                      <a:gs pos="2917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800" kern="1200" spc="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200" b="1" kern="1200" spc="0" baseline="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200" kern="1200"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-50" normalizeH="0" baseline="0" noProof="0" dirty="0">
                  <a:ln>
                    <a:noFill/>
                  </a:ln>
                  <a:solidFill>
                    <a:srgbClr val="56545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lligent business applications in the cloud</a:t>
              </a:r>
            </a:p>
          </p:txBody>
        </p:sp>
        <p:pic>
          <p:nvPicPr>
            <p:cNvPr id="239" name="Picture 238">
              <a:extLst>
                <a:ext uri="{FF2B5EF4-FFF2-40B4-BE49-F238E27FC236}">
                  <a16:creationId xmlns:a16="http://schemas.microsoft.com/office/drawing/2014/main" id="{F46E6547-8B3A-49EE-B79C-5F26AF59C2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0700" y="475648"/>
              <a:ext cx="2519482" cy="628703"/>
            </a:xfrm>
            <a:prstGeom prst="rect">
              <a:avLst/>
            </a:prstGeom>
          </p:spPr>
        </p:pic>
      </p:grp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BBCD7EC1-5A0D-423C-9CD3-77C0967DACB2}"/>
              </a:ext>
            </a:extLst>
          </p:cNvPr>
          <p:cNvCxnSpPr>
            <a:cxnSpLocks/>
            <a:endCxn id="122" idx="1"/>
          </p:cNvCxnSpPr>
          <p:nvPr/>
        </p:nvCxnSpPr>
        <p:spPr>
          <a:xfrm>
            <a:off x="469658" y="3429000"/>
            <a:ext cx="490095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oval" w="sm" len="sm"/>
            <a:tailEnd type="none" w="sm" len="sm"/>
          </a:ln>
          <a:effectLst/>
        </p:spPr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3F73DB8B-5FE4-4E88-8421-76D15CD2D53C}"/>
              </a:ext>
            </a:extLst>
          </p:cNvPr>
          <p:cNvCxnSpPr>
            <a:cxnSpLocks/>
            <a:stCxn id="122" idx="3"/>
            <a:endCxn id="126" idx="1"/>
          </p:cNvCxnSpPr>
          <p:nvPr/>
        </p:nvCxnSpPr>
        <p:spPr>
          <a:xfrm>
            <a:off x="1965593" y="3429000"/>
            <a:ext cx="443397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B567C0B4-5CC6-4A0F-9167-77005E9F347A}"/>
              </a:ext>
            </a:extLst>
          </p:cNvPr>
          <p:cNvCxnSpPr>
            <a:cxnSpLocks/>
            <a:stCxn id="126" idx="3"/>
            <a:endCxn id="151" idx="2"/>
          </p:cNvCxnSpPr>
          <p:nvPr/>
        </p:nvCxnSpPr>
        <p:spPr>
          <a:xfrm>
            <a:off x="3414830" y="3429000"/>
            <a:ext cx="866359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D68D1B0D-81DA-459F-A709-158609EB4B28}"/>
              </a:ext>
            </a:extLst>
          </p:cNvPr>
          <p:cNvCxnSpPr>
            <a:cxnSpLocks/>
            <a:stCxn id="151" idx="6"/>
            <a:endCxn id="129" idx="1"/>
          </p:cNvCxnSpPr>
          <p:nvPr/>
        </p:nvCxnSpPr>
        <p:spPr>
          <a:xfrm>
            <a:off x="7910807" y="3429000"/>
            <a:ext cx="810538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6687680B-29DA-46AD-A79C-C8BCCEADBAE7}"/>
              </a:ext>
            </a:extLst>
          </p:cNvPr>
          <p:cNvCxnSpPr>
            <a:cxnSpLocks/>
            <a:stCxn id="129" idx="3"/>
            <a:endCxn id="130" idx="1"/>
          </p:cNvCxnSpPr>
          <p:nvPr/>
        </p:nvCxnSpPr>
        <p:spPr>
          <a:xfrm>
            <a:off x="9843529" y="3429000"/>
            <a:ext cx="303771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ysDash"/>
            <a:headEnd type="none" w="sm" len="sm"/>
            <a:tailEnd type="none" w="sm" len="sm"/>
          </a:ln>
          <a:effectLst/>
        </p:spPr>
      </p:cxnSp>
      <p:sp>
        <p:nvSpPr>
          <p:cNvPr id="103" name="Oval 102">
            <a:extLst>
              <a:ext uri="{FF2B5EF4-FFF2-40B4-BE49-F238E27FC236}">
                <a16:creationId xmlns:a16="http://schemas.microsoft.com/office/drawing/2014/main" id="{C7E396B9-B40F-4203-A777-C728C35C7D21}"/>
              </a:ext>
            </a:extLst>
          </p:cNvPr>
          <p:cNvSpPr/>
          <p:nvPr/>
        </p:nvSpPr>
        <p:spPr>
          <a:xfrm>
            <a:off x="7570012" y="5346256"/>
            <a:ext cx="440917" cy="440917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" name="Picture 2" descr="Power Virtual Agents | Encore Business Solutions">
            <a:extLst>
              <a:ext uri="{FF2B5EF4-FFF2-40B4-BE49-F238E27FC236}">
                <a16:creationId xmlns:a16="http://schemas.microsoft.com/office/drawing/2014/main" id="{6A359DD3-FD34-46B7-9954-8AFFB0C3B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793" y="5399066"/>
            <a:ext cx="357143" cy="357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 descr="Download Microsoft Azure (Windows Azure) Logo in SVG Vector or PNG File  Format - Logo.wine">
            <a:extLst>
              <a:ext uri="{FF2B5EF4-FFF2-40B4-BE49-F238E27FC236}">
                <a16:creationId xmlns:a16="http://schemas.microsoft.com/office/drawing/2014/main" id="{2E0D653F-CD2F-47C4-ABCD-9D82C87F9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904" y="5329906"/>
            <a:ext cx="2065811" cy="1377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tar: 5 Points 1">
            <a:extLst>
              <a:ext uri="{FF2B5EF4-FFF2-40B4-BE49-F238E27FC236}">
                <a16:creationId xmlns:a16="http://schemas.microsoft.com/office/drawing/2014/main" id="{7638089E-2544-C548-824E-F3A6D8EC379B}"/>
              </a:ext>
            </a:extLst>
          </p:cNvPr>
          <p:cNvSpPr/>
          <p:nvPr/>
        </p:nvSpPr>
        <p:spPr>
          <a:xfrm>
            <a:off x="6559334" y="1921396"/>
            <a:ext cx="1627048" cy="1586250"/>
          </a:xfrm>
          <a:prstGeom prst="star5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22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3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0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36E-6 -3.89015E-6 L 0.03676 -3.89015E-6 " pathEditMode="relative" rAng="0" ptsTypes="AA">
                                      <p:cBhvr>
                                        <p:cTn id="74" dur="500" spd="-10000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8" y="0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4.47536E-6 -5.5833E-7 L 0.03677 -5.5833E-7 " pathEditMode="relative" rAng="0" ptsTypes="AA">
                                      <p:cBhvr>
                                        <p:cTn id="79" dur="500" spd="-1000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8" y="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1.33265E-6 4.74353E-6 L -0.03676 4.74353E-6 " pathEditMode="relative" rAng="0" ptsTypes="AA">
                                      <p:cBhvr>
                                        <p:cTn id="84" dur="500" spd="-1000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8" y="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8047E-6 4.29414E-6 L -0.03677 4.29414E-6 " pathEditMode="relative" rAng="0" ptsTypes="AA">
                                      <p:cBhvr>
                                        <p:cTn id="89" dur="500" spd="-1000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3300"/>
                            </p:stCondLst>
                            <p:childTnLst>
                              <p:par>
                                <p:cTn id="91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3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3800"/>
                            </p:stCondLst>
                            <p:childTnLst>
                              <p:par>
                                <p:cTn id="9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7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4300"/>
                            </p:stCondLst>
                            <p:childTnLst>
                              <p:par>
                                <p:cTn id="9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1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4800"/>
                            </p:stCondLst>
                            <p:childTnLst>
                              <p:par>
                                <p:cTn id="103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5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300"/>
                            </p:stCondLst>
                            <p:childTnLst>
                              <p:par>
                                <p:cTn id="107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9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 animBg="1"/>
      <p:bldP spid="126" grpId="0" animBg="1"/>
      <p:bldP spid="129" grpId="0" animBg="1"/>
      <p:bldP spid="130" grpId="0" animBg="1"/>
      <p:bldP spid="233" grpId="0"/>
      <p:bldP spid="233" grpId="1"/>
      <p:bldP spid="234" grpId="0"/>
      <p:bldP spid="234" grpId="1"/>
      <p:bldP spid="235" grpId="0"/>
      <p:bldP spid="235" grpId="1"/>
      <p:bldP spid="236" grpId="0"/>
      <p:bldP spid="236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951EBA-AEE3-2876-7347-093E8B76B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losio’s CE Sales Express Implem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F9C9E4-D276-B243-5F7B-0CE2D00268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699" y="1731996"/>
            <a:ext cx="11150600" cy="97796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A 6–8-week implementation focused on getting sales organizations out of excel, sticky-note follow ups, and email, and into an enterprise scalable cloud-based application 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BE9C7-C195-7ED8-90BF-7FD5AB5DD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3920" y="5417907"/>
            <a:ext cx="627380" cy="365125"/>
          </a:xfrm>
        </p:spPr>
        <p:txBody>
          <a:bodyPr/>
          <a:lstStyle/>
          <a:p>
            <a:fld id="{6983196E-16A4-4C04-A414-459A5F5E2852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E00CDCF-25F2-822F-2D98-CCA3A0BE6E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03507"/>
              </p:ext>
            </p:extLst>
          </p:nvPr>
        </p:nvGraphicFramePr>
        <p:xfrm>
          <a:off x="520700" y="2770916"/>
          <a:ext cx="11150600" cy="2428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3A51035-0097-2E3C-7DF1-CC0D59669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134189"/>
              </p:ext>
            </p:extLst>
          </p:nvPr>
        </p:nvGraphicFramePr>
        <p:xfrm>
          <a:off x="520699" y="5369012"/>
          <a:ext cx="11150600" cy="3708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230120">
                  <a:extLst>
                    <a:ext uri="{9D8B030D-6E8A-4147-A177-3AD203B41FA5}">
                      <a16:colId xmlns:a16="http://schemas.microsoft.com/office/drawing/2014/main" val="3557732365"/>
                    </a:ext>
                  </a:extLst>
                </a:gridCol>
                <a:gridCol w="2230120">
                  <a:extLst>
                    <a:ext uri="{9D8B030D-6E8A-4147-A177-3AD203B41FA5}">
                      <a16:colId xmlns:a16="http://schemas.microsoft.com/office/drawing/2014/main" val="897189869"/>
                    </a:ext>
                  </a:extLst>
                </a:gridCol>
                <a:gridCol w="2230120">
                  <a:extLst>
                    <a:ext uri="{9D8B030D-6E8A-4147-A177-3AD203B41FA5}">
                      <a16:colId xmlns:a16="http://schemas.microsoft.com/office/drawing/2014/main" val="746613456"/>
                    </a:ext>
                  </a:extLst>
                </a:gridCol>
                <a:gridCol w="2230120">
                  <a:extLst>
                    <a:ext uri="{9D8B030D-6E8A-4147-A177-3AD203B41FA5}">
                      <a16:colId xmlns:a16="http://schemas.microsoft.com/office/drawing/2014/main" val="1332367598"/>
                    </a:ext>
                  </a:extLst>
                </a:gridCol>
                <a:gridCol w="2230120">
                  <a:extLst>
                    <a:ext uri="{9D8B030D-6E8A-4147-A177-3AD203B41FA5}">
                      <a16:colId xmlns:a16="http://schemas.microsoft.com/office/drawing/2014/main" val="14999221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eek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eek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eek 3 &amp;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eek 5 &amp; 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eek 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8432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97337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9164F-0585-8E23-E579-B2BE51A8C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 Day in the Life of a Seller </a:t>
            </a:r>
            <a:br>
              <a:rPr lang="en-US" dirty="0"/>
            </a:br>
            <a:r>
              <a:rPr lang="en-US" sz="3200" i="1" dirty="0">
                <a:solidFill>
                  <a:schemeClr val="tx1"/>
                </a:solidFill>
              </a:rPr>
              <a:t>with the CE Sales Express Solution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09AF67-A292-459F-BF56-1DC89BB402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701" y="1825625"/>
            <a:ext cx="4703306" cy="4351338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Account management including views/lists of accounts to contact, a 360 view of the customer</a:t>
            </a:r>
          </a:p>
          <a:p>
            <a:r>
              <a:rPr lang="en-US" sz="2000" dirty="0"/>
              <a:t>Contact management with places for people-specific notes (example: contact preferences or people specific notes) </a:t>
            </a:r>
          </a:p>
          <a:p>
            <a:r>
              <a:rPr lang="en-US" sz="2000" dirty="0"/>
              <a:t>Lead and Opportunity management (deal stages denoted in a Business Process Flow)</a:t>
            </a:r>
          </a:p>
          <a:p>
            <a:r>
              <a:rPr lang="en-US" sz="2000" dirty="0"/>
              <a:t>Activity management with Emails (outlook integration) and task follow ups</a:t>
            </a:r>
          </a:p>
          <a:p>
            <a:r>
              <a:rPr lang="en-US" sz="2000" dirty="0"/>
              <a:t>Mobile app experience for tracking notes/actions on the move</a:t>
            </a:r>
          </a:p>
          <a:p>
            <a:r>
              <a:rPr lang="en-US" sz="2000" dirty="0"/>
              <a:t>Leadership Dashboard and Seller Dashboard</a:t>
            </a:r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8F8C3-5C34-8D7D-E632-70A8DDB7D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9EEE5E-DEA8-3AAA-ED46-4327B37B3B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9011" y="1825625"/>
            <a:ext cx="6330599" cy="3768841"/>
          </a:xfrm>
          <a:prstGeom prst="rect">
            <a:avLst/>
          </a:prstGeom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29568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F5C9CE-096D-B61E-D294-1428F312C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 Sales Express Offering $29,99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10AEF6-387C-C351-9461-E14A86D24A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700" y="1849119"/>
            <a:ext cx="6140050" cy="4732835"/>
          </a:xfrm>
        </p:spPr>
        <p:txBody>
          <a:bodyPr>
            <a:normAutofit fontScale="85000" lnSpcReduction="20000"/>
          </a:bodyPr>
          <a:lstStyle/>
          <a:p>
            <a:r>
              <a:rPr lang="en-US" sz="2000" dirty="0"/>
              <a:t>2 two-hour Business Process Review Workshops</a:t>
            </a:r>
          </a:p>
          <a:p>
            <a:r>
              <a:rPr lang="en-US" sz="2000" dirty="0"/>
              <a:t>Deployment of</a:t>
            </a:r>
          </a:p>
          <a:p>
            <a:pPr lvl="1"/>
            <a:r>
              <a:rPr lang="en-US" sz="1600" dirty="0"/>
              <a:t>Accounts</a:t>
            </a:r>
          </a:p>
          <a:p>
            <a:pPr lvl="1"/>
            <a:r>
              <a:rPr lang="en-US" sz="1600" dirty="0"/>
              <a:t>Contacts</a:t>
            </a:r>
          </a:p>
          <a:p>
            <a:pPr lvl="1"/>
            <a:r>
              <a:rPr lang="en-US" sz="1600" dirty="0"/>
              <a:t>Leads </a:t>
            </a:r>
          </a:p>
          <a:p>
            <a:pPr lvl="1"/>
            <a:r>
              <a:rPr lang="en-US" sz="1600" dirty="0"/>
              <a:t>Opportunities </a:t>
            </a:r>
          </a:p>
          <a:p>
            <a:pPr lvl="1"/>
            <a:r>
              <a:rPr lang="en-US" sz="1600" dirty="0"/>
              <a:t>2 Business Process Flows: Lead to Opportunity &amp; Opportunity to Order</a:t>
            </a:r>
          </a:p>
          <a:p>
            <a:pPr lvl="1"/>
            <a:r>
              <a:rPr lang="en-US" sz="1600" dirty="0"/>
              <a:t>2 Out of Box Dashboards with 6 Out Of Box charts each </a:t>
            </a:r>
          </a:p>
          <a:p>
            <a:r>
              <a:rPr lang="en-US" sz="2000" dirty="0"/>
              <a:t>Activity Basics Overview </a:t>
            </a:r>
          </a:p>
          <a:p>
            <a:r>
              <a:rPr lang="en-US" sz="2000" dirty="0"/>
              <a:t>User Set Up (up to 15 users) with Security Roles </a:t>
            </a:r>
          </a:p>
          <a:p>
            <a:r>
              <a:rPr lang="en-US" sz="2000" dirty="0"/>
              <a:t>Data Migration Template Overview and Training</a:t>
            </a:r>
          </a:p>
          <a:p>
            <a:r>
              <a:rPr lang="en-US" sz="2000" dirty="0"/>
              <a:t>1 Conference Room Pilot (CRP) </a:t>
            </a:r>
          </a:p>
          <a:p>
            <a:r>
              <a:rPr lang="en-US" sz="2000" dirty="0"/>
              <a:t>User Acceptance Testing (UAT) Scripts</a:t>
            </a:r>
          </a:p>
          <a:p>
            <a:r>
              <a:rPr lang="en-US" sz="2000" dirty="0"/>
              <a:t>Enable Outlook App Integration</a:t>
            </a:r>
          </a:p>
          <a:p>
            <a:r>
              <a:rPr lang="en-US" sz="2000" dirty="0"/>
              <a:t>Production Release and 4 hours of Go-Live Support</a:t>
            </a:r>
          </a:p>
          <a:p>
            <a:r>
              <a:rPr lang="en-US" sz="2000" dirty="0"/>
              <a:t>System Admin Training</a:t>
            </a:r>
          </a:p>
          <a:p>
            <a:r>
              <a:rPr lang="en-US" sz="2000" dirty="0"/>
              <a:t>Phase 2 Recommendation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8D9079-DA68-4753-D878-FB9EA9E48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90868BE-E47E-D300-A323-61C054306371}"/>
              </a:ext>
            </a:extLst>
          </p:cNvPr>
          <p:cNvSpPr/>
          <p:nvPr/>
        </p:nvSpPr>
        <p:spPr>
          <a:xfrm>
            <a:off x="6660750" y="1488559"/>
            <a:ext cx="5010550" cy="5165018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292100" dist="139700" dir="2700000" algn="ctr" rotWithShape="0">
              <a:srgbClr val="56545B">
                <a:alpha val="6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BFEB48-9E79-5682-B857-5928DCED48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752980"/>
              </p:ext>
            </p:extLst>
          </p:nvPr>
        </p:nvGraphicFramePr>
        <p:xfrm>
          <a:off x="6901660" y="1626393"/>
          <a:ext cx="4411821" cy="1203098"/>
        </p:xfrm>
        <a:graphic>
          <a:graphicData uri="http://schemas.openxmlformats.org/drawingml/2006/table">
            <a:tbl>
              <a:tblPr firstCol="1" bandRow="1">
                <a:tableStyleId>{793D81CF-94F2-401A-BA57-92F5A7B2D0C5}</a:tableStyleId>
              </a:tblPr>
              <a:tblGrid>
                <a:gridCol w="1280783">
                  <a:extLst>
                    <a:ext uri="{9D8B030D-6E8A-4147-A177-3AD203B41FA5}">
                      <a16:colId xmlns:a16="http://schemas.microsoft.com/office/drawing/2014/main" val="2518456801"/>
                    </a:ext>
                  </a:extLst>
                </a:gridCol>
                <a:gridCol w="3131038">
                  <a:extLst>
                    <a:ext uri="{9D8B030D-6E8A-4147-A177-3AD203B41FA5}">
                      <a16:colId xmlns:a16="http://schemas.microsoft.com/office/drawing/2014/main" val="2708054115"/>
                    </a:ext>
                  </a:extLst>
                </a:gridCol>
              </a:tblGrid>
              <a:tr h="37294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Ter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Segoe UI Light"/>
                        </a:rPr>
                        <a:t>Fixed Fe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822163"/>
                  </a:ext>
                </a:extLst>
              </a:tr>
              <a:tr h="37294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Estimated Dur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Segoe UI Light"/>
                        </a:rPr>
                        <a:t>8 Week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0926814"/>
                  </a:ext>
                </a:extLst>
              </a:tr>
              <a:tr h="37294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Segoe UI Light" panose="020B0502040204020203" pitchFamily="34" charset="0"/>
                        </a:rPr>
                        <a:t>Remo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Segoe UI Light" panose="020B0502040204020203" pitchFamily="34" charset="0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5117510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D3F3E09-15E7-7A93-1D35-B179EC1368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562112"/>
              </p:ext>
            </p:extLst>
          </p:nvPr>
        </p:nvGraphicFramePr>
        <p:xfrm>
          <a:off x="6901660" y="2897389"/>
          <a:ext cx="4411820" cy="3315104"/>
        </p:xfrm>
        <a:graphic>
          <a:graphicData uri="http://schemas.openxmlformats.org/drawingml/2006/table">
            <a:tbl>
              <a:tblPr bandRow="1">
                <a:tableStyleId>{793D81CF-94F2-401A-BA57-92F5A7B2D0C5}</a:tableStyleId>
              </a:tblPr>
              <a:tblGrid>
                <a:gridCol w="3189824">
                  <a:extLst>
                    <a:ext uri="{9D8B030D-6E8A-4147-A177-3AD203B41FA5}">
                      <a16:colId xmlns:a16="http://schemas.microsoft.com/office/drawing/2014/main" val="176248956"/>
                    </a:ext>
                  </a:extLst>
                </a:gridCol>
                <a:gridCol w="1221996">
                  <a:extLst>
                    <a:ext uri="{9D8B030D-6E8A-4147-A177-3AD203B41FA5}">
                      <a16:colId xmlns:a16="http://schemas.microsoft.com/office/drawing/2014/main" val="172688187"/>
                    </a:ext>
                  </a:extLst>
                </a:gridCol>
              </a:tblGrid>
              <a:tr h="414388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Professional Services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Pricing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Pricing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720438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$29,995</a:t>
                      </a:r>
                      <a:endParaRPr 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153660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Add-On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1429736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Enable Teams Integr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$1,5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834803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Enable LinkedIn Sales Navigator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$2,0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5485213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Enable SharePoint Integr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$2,0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7459393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Enable BC-CE Customer Integration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$10,0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6678372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Enable CoPilo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$2,000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7869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46184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D729DF-514C-C2CB-E130-79A5CC7B7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8E187E-8477-7D40-BFB8-7DFC64A72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les Ramp-up Offering $9,99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2D6931-2B37-BB7F-BF66-95DCC09203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700" y="1825625"/>
            <a:ext cx="1115060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An alternative to CE Sales Express Implementations – for organizations that are not ready for a Production release:</a:t>
            </a:r>
          </a:p>
          <a:p>
            <a:pPr lvl="1"/>
            <a:r>
              <a:rPr lang="en-US" sz="1800" dirty="0"/>
              <a:t>1-2-week D365 Sales ramp-up </a:t>
            </a:r>
          </a:p>
          <a:p>
            <a:pPr lvl="1"/>
            <a:r>
              <a:rPr lang="en-US" sz="1800" dirty="0"/>
              <a:t>Development environment provisioning</a:t>
            </a:r>
          </a:p>
          <a:p>
            <a:pPr lvl="1"/>
            <a:r>
              <a:rPr lang="en-US" sz="1800" dirty="0"/>
              <a:t>User set up for 1-2 System Admins</a:t>
            </a:r>
          </a:p>
          <a:p>
            <a:pPr lvl="1"/>
            <a:r>
              <a:rPr lang="en-US" sz="1800" dirty="0"/>
              <a:t>System Admin training overview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37E64F-F405-D2BE-7854-01DE2ED9D7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196E-16A4-4C04-A414-459A5F5E2852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E21928-3301-28B8-0B76-48F9ACD9942E}"/>
              </a:ext>
            </a:extLst>
          </p:cNvPr>
          <p:cNvSpPr/>
          <p:nvPr/>
        </p:nvSpPr>
        <p:spPr>
          <a:xfrm>
            <a:off x="6096000" y="2527541"/>
            <a:ext cx="5010550" cy="262504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F77CAE-C2E4-CF22-34AF-6B5D621A46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828220"/>
              </p:ext>
            </p:extLst>
          </p:nvPr>
        </p:nvGraphicFramePr>
        <p:xfrm>
          <a:off x="6423174" y="2755582"/>
          <a:ext cx="4411821" cy="1203098"/>
        </p:xfrm>
        <a:graphic>
          <a:graphicData uri="http://schemas.openxmlformats.org/drawingml/2006/table">
            <a:tbl>
              <a:tblPr firstCol="1" bandRow="1">
                <a:tableStyleId>{793D81CF-94F2-401A-BA57-92F5A7B2D0C5}</a:tableStyleId>
              </a:tblPr>
              <a:tblGrid>
                <a:gridCol w="1280783">
                  <a:extLst>
                    <a:ext uri="{9D8B030D-6E8A-4147-A177-3AD203B41FA5}">
                      <a16:colId xmlns:a16="http://schemas.microsoft.com/office/drawing/2014/main" val="2518456801"/>
                    </a:ext>
                  </a:extLst>
                </a:gridCol>
                <a:gridCol w="3131038">
                  <a:extLst>
                    <a:ext uri="{9D8B030D-6E8A-4147-A177-3AD203B41FA5}">
                      <a16:colId xmlns:a16="http://schemas.microsoft.com/office/drawing/2014/main" val="2708054115"/>
                    </a:ext>
                  </a:extLst>
                </a:gridCol>
              </a:tblGrid>
              <a:tr h="37294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Ter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Segoe UI Light"/>
                        </a:rPr>
                        <a:t>Fixed Fe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822163"/>
                  </a:ext>
                </a:extLst>
              </a:tr>
              <a:tr h="37294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Estimated Dur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Segoe UI Light"/>
                        </a:rPr>
                        <a:t>2 Week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0926814"/>
                  </a:ext>
                </a:extLst>
              </a:tr>
              <a:tr h="372949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  <a:cs typeface="Segoe UI Light" panose="020B0502040204020203" pitchFamily="34" charset="0"/>
                        </a:rPr>
                        <a:t>Remo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Segoe UI Light" panose="020B0502040204020203" pitchFamily="34" charset="0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5117510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263A4AB-1833-53BA-E71D-98E72426F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888723"/>
              </p:ext>
            </p:extLst>
          </p:nvPr>
        </p:nvGraphicFramePr>
        <p:xfrm>
          <a:off x="6423174" y="4026578"/>
          <a:ext cx="4411820" cy="828776"/>
        </p:xfrm>
        <a:graphic>
          <a:graphicData uri="http://schemas.openxmlformats.org/drawingml/2006/table">
            <a:tbl>
              <a:tblPr bandRow="1">
                <a:tableStyleId>{793D81CF-94F2-401A-BA57-92F5A7B2D0C5}</a:tableStyleId>
              </a:tblPr>
              <a:tblGrid>
                <a:gridCol w="3189824">
                  <a:extLst>
                    <a:ext uri="{9D8B030D-6E8A-4147-A177-3AD203B41FA5}">
                      <a16:colId xmlns:a16="http://schemas.microsoft.com/office/drawing/2014/main" val="176248956"/>
                    </a:ext>
                  </a:extLst>
                </a:gridCol>
                <a:gridCol w="1221996">
                  <a:extLst>
                    <a:ext uri="{9D8B030D-6E8A-4147-A177-3AD203B41FA5}">
                      <a16:colId xmlns:a16="http://schemas.microsoft.com/office/drawing/2014/main" val="172688187"/>
                    </a:ext>
                  </a:extLst>
                </a:gridCol>
              </a:tblGrid>
              <a:tr h="414388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Professional Services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Pricing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  <a:cs typeface="Segoe UI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Segoe UI Light"/>
                        </a:rPr>
                        <a:t>Pricing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720438"/>
                  </a:ext>
                </a:extLst>
              </a:tr>
              <a:tr h="4143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Light"/>
                        </a:rPr>
                        <a:t>$9,99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153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0767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0421D-7744-101E-8B50-DC7DC6F50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y to proceed?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40F7E0A-3281-CBA9-CFE4-5DC57AC23B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1076992" cy="4351338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Provide confirmation to Velosio on CE Sales Expres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With (or without) Add-On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Velosio to provide Statement of Work (SOW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Provide signature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Project Kick-off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proximately 2 weeks after Velosio receives signature.</a:t>
            </a:r>
          </a:p>
        </p:txBody>
      </p:sp>
    </p:spTree>
    <p:extLst>
      <p:ext uri="{BB962C8B-B14F-4D97-AF65-F5344CB8AC3E}">
        <p14:creationId xmlns:p14="http://schemas.microsoft.com/office/powerpoint/2010/main" val="8073466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Muoj0RcMzrYYjxeTHz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Muoj0RcMzrYYjxeTHz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3HaicuBd42T1svWyx9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DfDpBLVhwqVsGb678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Velosio">
      <a:dk1>
        <a:srgbClr val="56545B"/>
      </a:dk1>
      <a:lt1>
        <a:sysClr val="window" lastClr="FFFFFF"/>
      </a:lt1>
      <a:dk2>
        <a:srgbClr val="1B3E6F"/>
      </a:dk2>
      <a:lt2>
        <a:srgbClr val="E7E6E6"/>
      </a:lt2>
      <a:accent1>
        <a:srgbClr val="F58220"/>
      </a:accent1>
      <a:accent2>
        <a:srgbClr val="A1CE5E"/>
      </a:accent2>
      <a:accent3>
        <a:srgbClr val="56545B"/>
      </a:accent3>
      <a:accent4>
        <a:srgbClr val="6AC3E9"/>
      </a:accent4>
      <a:accent5>
        <a:srgbClr val="1B3E6F"/>
      </a:accent5>
      <a:accent6>
        <a:srgbClr val="A1CE5E"/>
      </a:accent6>
      <a:hlink>
        <a:srgbClr val="0563C1"/>
      </a:hlink>
      <a:folHlink>
        <a:srgbClr val="954F72"/>
      </a:folHlink>
    </a:clrScheme>
    <a:fontScheme name="Velosio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1_velosio_02-06-18">
  <a:themeElements>
    <a:clrScheme name="Custom 1">
      <a:dk1>
        <a:srgbClr val="56545B"/>
      </a:dk1>
      <a:lt1>
        <a:sysClr val="window" lastClr="FFFFFF"/>
      </a:lt1>
      <a:dk2>
        <a:srgbClr val="1B3E6F"/>
      </a:dk2>
      <a:lt2>
        <a:srgbClr val="E7E6E6"/>
      </a:lt2>
      <a:accent1>
        <a:srgbClr val="F58220"/>
      </a:accent1>
      <a:accent2>
        <a:srgbClr val="A1CE5E"/>
      </a:accent2>
      <a:accent3>
        <a:srgbClr val="56545B"/>
      </a:accent3>
      <a:accent4>
        <a:srgbClr val="6AC3E9"/>
      </a:accent4>
      <a:accent5>
        <a:srgbClr val="1B3E6F"/>
      </a:accent5>
      <a:accent6>
        <a:srgbClr val="A1CE5E"/>
      </a:accent6>
      <a:hlink>
        <a:srgbClr val="0563C1"/>
      </a:hlink>
      <a:folHlink>
        <a:srgbClr val="954F72"/>
      </a:folHlink>
    </a:clrScheme>
    <a:fontScheme name="Velosio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14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elosio_02-06-18" id="{D59AC897-0641-42FF-963C-B8844FAF49C7}" vid="{4AF0C72C-31EB-464E-A3CB-131B41199AE8}"/>
    </a:ext>
  </a:extLst>
</a:theme>
</file>

<file path=ppt/theme/theme3.xml><?xml version="1.0" encoding="utf-8"?>
<a:theme xmlns:a="http://schemas.openxmlformats.org/drawingml/2006/main" name="12_velosio_02-06-18">
  <a:themeElements>
    <a:clrScheme name="Custom 1">
      <a:dk1>
        <a:srgbClr val="56545B"/>
      </a:dk1>
      <a:lt1>
        <a:sysClr val="window" lastClr="FFFFFF"/>
      </a:lt1>
      <a:dk2>
        <a:srgbClr val="1B3E6F"/>
      </a:dk2>
      <a:lt2>
        <a:srgbClr val="E7E6E6"/>
      </a:lt2>
      <a:accent1>
        <a:srgbClr val="F58220"/>
      </a:accent1>
      <a:accent2>
        <a:srgbClr val="A1CE5E"/>
      </a:accent2>
      <a:accent3>
        <a:srgbClr val="56545B"/>
      </a:accent3>
      <a:accent4>
        <a:srgbClr val="6AC3E9"/>
      </a:accent4>
      <a:accent5>
        <a:srgbClr val="1B3E6F"/>
      </a:accent5>
      <a:accent6>
        <a:srgbClr val="A1CE5E"/>
      </a:accent6>
      <a:hlink>
        <a:srgbClr val="0563C1"/>
      </a:hlink>
      <a:folHlink>
        <a:srgbClr val="954F72"/>
      </a:folHlink>
    </a:clrScheme>
    <a:fontScheme name="Velosio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14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elosio_02-06-18" id="{D59AC897-0641-42FF-963C-B8844FAF49C7}" vid="{4AF0C72C-31EB-464E-A3CB-131B41199A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bd7adf8-62e9-46ae-b47f-8c4a1b6c9b59">
      <UserInfo>
        <DisplayName>Keith Goedde</DisplayName>
        <AccountId>13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A7DBF904E92B43ABE1A734187535EC" ma:contentTypeVersion="10" ma:contentTypeDescription="Create a new document." ma:contentTypeScope="" ma:versionID="a23ee3db5d4bfe986270652fc8b17490">
  <xsd:schema xmlns:xsd="http://www.w3.org/2001/XMLSchema" xmlns:xs="http://www.w3.org/2001/XMLSchema" xmlns:p="http://schemas.microsoft.com/office/2006/metadata/properties" xmlns:ns2="9bd7adf8-62e9-46ae-b47f-8c4a1b6c9b59" xmlns:ns3="ccd6ebf3-503b-491a-b60e-4851f2f2d1a6" targetNamespace="http://schemas.microsoft.com/office/2006/metadata/properties" ma:root="true" ma:fieldsID="b7de9f493de49d3d4feeffc0ec95b3b7" ns2:_="" ns3:_="">
    <xsd:import namespace="9bd7adf8-62e9-46ae-b47f-8c4a1b6c9b59"/>
    <xsd:import namespace="ccd6ebf3-503b-491a-b60e-4851f2f2d1a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LengthInSeconds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d7adf8-62e9-46ae-b47f-8c4a1b6c9b5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d6ebf3-503b-491a-b60e-4851f2f2d1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C7D299-F0BC-4EF3-B35F-A7F75D515C2C}">
  <ds:schemaRefs>
    <ds:schemaRef ds:uri="9bd7adf8-62e9-46ae-b47f-8c4a1b6c9b59"/>
    <ds:schemaRef ds:uri="http://purl.org/dc/dcmitype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elements/1.1/"/>
    <ds:schemaRef ds:uri="http://purl.org/dc/terms/"/>
    <ds:schemaRef ds:uri="ccd6ebf3-503b-491a-b60e-4851f2f2d1a6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908EAB2-C754-44E1-B4C6-760ABA5D5B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3BD815-1241-4F18-AB17-C1B27046AD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d7adf8-62e9-46ae-b47f-8c4a1b6c9b59"/>
    <ds:schemaRef ds:uri="ccd6ebf3-503b-491a-b60e-4851f2f2d1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de7faeb-fdf2-4737-aec7-50ff8ce93c50}" enabled="0" method="" siteId="{fde7faeb-fdf2-4737-aec7-50ff8ce93c5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565</TotalTime>
  <Words>712</Words>
  <Application>Microsoft Office PowerPoint</Application>
  <PresentationFormat>Widescreen</PresentationFormat>
  <Paragraphs>171</Paragraphs>
  <Slides>14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1_Office Theme</vt:lpstr>
      <vt:lpstr>11_velosio_02-06-18</vt:lpstr>
      <vt:lpstr>12_velosio_02-06-18</vt:lpstr>
      <vt:lpstr>Dynamics 365 CE Sales Express Implementation Options</vt:lpstr>
      <vt:lpstr>Contents</vt:lpstr>
      <vt:lpstr>PowerPoint Presentation</vt:lpstr>
      <vt:lpstr>PowerPoint Presentation</vt:lpstr>
      <vt:lpstr>Velosio’s CE Sales Express Implementation</vt:lpstr>
      <vt:lpstr>A Day in the Life of a Seller  with the CE Sales Express Solution</vt:lpstr>
      <vt:lpstr>CE Sales Express Offering $29,995</vt:lpstr>
      <vt:lpstr>Sales Ramp-up Offering $9,995</vt:lpstr>
      <vt:lpstr>Ready to proceed? </vt:lpstr>
      <vt:lpstr>Appendix</vt:lpstr>
      <vt:lpstr>Qualifying Leads Lead to Opportunity Business Process Flow</vt:lpstr>
      <vt:lpstr>Developing an Opportunity Lead to Opportunity Business Process Flow</vt:lpstr>
      <vt:lpstr>Proposing a Solution Lead to Opportunity Business Process Flow</vt:lpstr>
      <vt:lpstr>Closing an Opportunity Lead to Opportunity Business Process Fl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ckie Simens</dc:creator>
  <cp:lastModifiedBy>Molly Sugarman</cp:lastModifiedBy>
  <cp:revision>6</cp:revision>
  <dcterms:created xsi:type="dcterms:W3CDTF">2024-01-15T16:22:23Z</dcterms:created>
  <dcterms:modified xsi:type="dcterms:W3CDTF">2024-09-25T16:5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A7DBF904E92B43ABE1A734187535EC</vt:lpwstr>
  </property>
</Properties>
</file>